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ngesInfos/changesInfo1.xml" ContentType="application/vnd.ms-powerpoint.changesinfo+xml"/>
  <Override PartName="/ppt/commentAuthors.xml" ContentType="application/vnd.openxmlformats-officedocument.presentationml.commentAuthors+xml"/>
  <Override PartName="/ppt/comments/modernComment_7FFFCFF9_63A33.xml" ContentType="application/vnd.ms-powerpoint.comments+xml"/>
  <Override PartName="/ppt/comments/modernComment_7FFFD014_E4D1D6E9.xml" ContentType="application/vnd.ms-powerpoint.comments+xml"/>
  <Override PartName="/ppt/comments/modernComment_7FFFD04B_FDF57C1.xml" ContentType="application/vnd.ms-powerpoint.comments+xml"/>
  <Override PartName="/ppt/comments/modernComment_DD9_43C6E3C5.xml" ContentType="application/vnd.ms-powerpoint.comments+xml"/>
  <Override PartName="/ppt/comments/modernComment_E28_ECCCEF96.xml" ContentType="application/vnd.ms-powerpoint.comments+xml"/>
  <Override PartName="/ppt/comments/modernComment_E36_CE009A85.xml" ContentType="application/vnd.ms-powerpoint.comments+xml"/>
  <Override PartName="/ppt/comments/modernComment_E37_B89C8ADA.xml" ContentType="application/vnd.ms-powerpoint.comments+xml"/>
  <Override PartName="/ppt/comments/modernComment_E50_9ED53407.xml" ContentType="application/vnd.ms-powerpoint.comments+xml"/>
  <Override PartName="/ppt/diagrams/colors1.xml" ContentType="application/vnd.openxmlformats-officedocument.drawingml.diagramColors+xml"/>
  <Override PartName="/ppt/diagrams/colors2.xml" ContentType="application/vnd.openxmlformats-officedocument.drawingml.diagramColors+xml"/>
  <Override PartName="/ppt/diagrams/colors3.xml" ContentType="application/vnd.openxmlformats-officedocument.drawingml.diagramColors+xml"/>
  <Override PartName="/ppt/diagrams/colors4.xml" ContentType="application/vnd.openxmlformats-officedocument.drawingml.diagramColors+xml"/>
  <Override PartName="/ppt/diagrams/colors5.xml" ContentType="application/vnd.openxmlformats-officedocument.drawingml.diagramColors+xml"/>
  <Override PartName="/ppt/diagrams/colors6.xml" ContentType="application/vnd.openxmlformats-officedocument.drawingml.diagramColors+xml"/>
  <Override PartName="/ppt/diagrams/data1.xml" ContentType="application/vnd.openxmlformats-officedocument.drawingml.diagramData+xml"/>
  <Override PartName="/ppt/diagrams/data2.xml" ContentType="application/vnd.openxmlformats-officedocument.drawingml.diagramData+xml"/>
  <Override PartName="/ppt/diagrams/data3.xml" ContentType="application/vnd.openxmlformats-officedocument.drawingml.diagramData+xml"/>
  <Override PartName="/ppt/diagrams/data4.xml" ContentType="application/vnd.openxmlformats-officedocument.drawingml.diagramData+xml"/>
  <Override PartName="/ppt/diagrams/data5.xml" ContentType="application/vnd.openxmlformats-officedocument.drawingml.diagramData+xml"/>
  <Override PartName="/ppt/diagrams/data6.xml" ContentType="application/vnd.openxmlformats-officedocument.drawingml.diagramData+xml"/>
  <Override PartName="/ppt/diagrams/drawing1.xml" ContentType="application/vnd.ms-office.drawingml.diagramDrawing+xml"/>
  <Override PartName="/ppt/diagrams/drawing2.xml" ContentType="application/vnd.ms-office.drawingml.diagramDrawing+xml"/>
  <Override PartName="/ppt/diagrams/drawing3.xml" ContentType="application/vnd.ms-office.drawingml.diagramDrawing+xml"/>
  <Override PartName="/ppt/diagrams/drawing4.xml" ContentType="application/vnd.ms-office.drawingml.diagramDrawing+xml"/>
  <Override PartName="/ppt/diagrams/drawing5.xml" ContentType="application/vnd.ms-office.drawingml.diagramDrawing+xml"/>
  <Override PartName="/ppt/diagrams/drawing6.xml" ContentType="application/vnd.ms-office.drawingml.diagramDrawing+xml"/>
  <Override PartName="/ppt/diagrams/layout1.xml" ContentType="application/vnd.openxmlformats-officedocument.drawingml.diagramLayout+xml"/>
  <Override PartName="/ppt/diagrams/layout2.xml" ContentType="application/vnd.openxmlformats-officedocument.drawingml.diagramLayout+xml"/>
  <Override PartName="/ppt/diagrams/layout3.xml" ContentType="application/vnd.openxmlformats-officedocument.drawingml.diagramLayout+xml"/>
  <Override PartName="/ppt/diagrams/layout4.xml" ContentType="application/vnd.openxmlformats-officedocument.drawingml.diagramLayout+xml"/>
  <Override PartName="/ppt/diagrams/layout5.xml" ContentType="application/vnd.openxmlformats-officedocument.drawingml.diagramLayout+xml"/>
  <Override PartName="/ppt/diagrams/layout6.xml" ContentType="application/vnd.openxmlformats-officedocument.drawingml.diagramLayout+xml"/>
  <Override PartName="/ppt/diagrams/quickStyle1.xml" ContentType="application/vnd.openxmlformats-officedocument.drawingml.diagramStyle+xml"/>
  <Override PartName="/ppt/diagrams/quickStyle2.xml" ContentType="application/vnd.openxmlformats-officedocument.drawingml.diagramStyle+xml"/>
  <Override PartName="/ppt/diagrams/quickStyle3.xml" ContentType="application/vnd.openxmlformats-officedocument.drawingml.diagramStyle+xml"/>
  <Override PartName="/ppt/diagrams/quickStyle4.xml" ContentType="application/vnd.openxmlformats-officedocument.drawingml.diagramStyle+xml"/>
  <Override PartName="/ppt/diagrams/quickStyle5.xml" ContentType="application/vnd.openxmlformats-officedocument.drawingml.diagramStyle+xml"/>
  <Override PartName="/ppt/diagrams/quickStyle6.xml" ContentType="application/vnd.openxmlformats-officedocument.drawingml.diagramStyle+xml"/>
  <Override PartName="/ppt/handoutMasters/handoutMaster1.xml" ContentType="application/vnd.openxmlformats-officedocument.presentationml.handoutMaster+xml"/>
  <Override PartName="/ppt/media/image101.svg" ContentType="image/svg+xml"/>
  <Override PartName="/ppt/media/image103.svg" ContentType="image/svg+xml"/>
  <Override PartName="/ppt/media/image105.svg" ContentType="image/svg+xml"/>
  <Override PartName="/ppt/media/image107.svg" ContentType="image/svg+xml"/>
  <Override PartName="/ppt/media/image125.svg" ContentType="image/svg+xml"/>
  <Override PartName="/ppt/media/image127.svg" ContentType="image/svg+xml"/>
  <Override PartName="/ppt/media/image130.svg" ContentType="image/svg+xml"/>
  <Override PartName="/ppt/media/image132.svg" ContentType="image/svg+xml"/>
  <Override PartName="/ppt/media/image171.svg" ContentType="image/svg+xml"/>
  <Override PartName="/ppt/media/image72.svg" ContentType="image/svg+xml"/>
  <Override PartName="/ppt/media/image9.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9" r:id="rId5"/>
    <p:sldMasterId id="2147483683" r:id="rId6"/>
  </p:sldMasterIdLst>
  <p:notesMasterIdLst>
    <p:notesMasterId r:id="rId51"/>
  </p:notesMasterIdLst>
  <p:handoutMasterIdLst>
    <p:handoutMasterId r:id="rId52"/>
  </p:handoutMasterIdLst>
  <p:sldIdLst>
    <p:sldId id="3624" r:id="rId7"/>
    <p:sldId id="3625" r:id="rId8"/>
    <p:sldId id="3626" r:id="rId9"/>
    <p:sldId id="3671" r:id="rId10"/>
    <p:sldId id="3972" r:id="rId11"/>
    <p:sldId id="3784" r:id="rId12"/>
    <p:sldId id="2147471358" r:id="rId13"/>
    <p:sldId id="2147471359" r:id="rId14"/>
    <p:sldId id="3982" r:id="rId15"/>
    <p:sldId id="2147471360" r:id="rId16"/>
    <p:sldId id="3790" r:id="rId17"/>
    <p:sldId id="2147471361" r:id="rId18"/>
    <p:sldId id="2147471362" r:id="rId19"/>
    <p:sldId id="2147471363" r:id="rId20"/>
    <p:sldId id="3977" r:id="rId21"/>
    <p:sldId id="2147471364" r:id="rId22"/>
    <p:sldId id="2147471436" r:id="rId23"/>
    <p:sldId id="2147471366" r:id="rId24"/>
    <p:sldId id="3762" r:id="rId25"/>
    <p:sldId id="3637" r:id="rId26"/>
    <p:sldId id="3638" r:id="rId27"/>
    <p:sldId id="3639" r:id="rId28"/>
    <p:sldId id="3645" r:id="rId29"/>
    <p:sldId id="3646" r:id="rId30"/>
    <p:sldId id="2147471435" r:id="rId31"/>
    <p:sldId id="3745" r:id="rId32"/>
    <p:sldId id="2147471372" r:id="rId33"/>
    <p:sldId id="3997" r:id="rId34"/>
    <p:sldId id="2147471434" r:id="rId35"/>
    <p:sldId id="2147471380" r:id="rId36"/>
    <p:sldId id="3488" r:id="rId37"/>
    <p:sldId id="2147471352" r:id="rId38"/>
    <p:sldId id="3670" r:id="rId39"/>
    <p:sldId id="2147471353" r:id="rId40"/>
    <p:sldId id="2147471367" r:id="rId41"/>
    <p:sldId id="2147471369" r:id="rId42"/>
    <p:sldId id="2147471370" r:id="rId43"/>
    <p:sldId id="3545" r:id="rId44"/>
    <p:sldId id="2147471371" r:id="rId45"/>
    <p:sldId id="3812" r:id="rId46"/>
    <p:sldId id="3986" r:id="rId47"/>
    <p:sldId id="3664" r:id="rId48"/>
    <p:sldId id="3665" r:id="rId49"/>
    <p:sldId id="3816" r:id="rId5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13DF90C-7238-CACA-ADD1-B02601857B21}" name="Abdul Rafay" initials="AR" userId="S::abdul.rafay@grc360.net::f0baa150-18fb-4df7-9589-7c96eafe2dfb" providerId="AD"/>
  <p188:author id="{BDAFC363-7C8E-9ED2-EDAB-8444EFB362CC}" name="Schuwaz Roohina" initials="SR" userId="S::schuwaz@grc360.net::3357ac64-2648-489d-86ce-b7c0fd6372b8" providerId="AD"/>
  <p188:author id="{0C8E098D-729B-ABD8-9101-63DBE6010261}" name="Salman Dastgir" initials="SD" userId="S::salman.dastgir@grc360.net::83d047dd-1445-4897-b642-a834c35f3b7b" providerId="AD"/>
  <p188:author id="{B9FC8C96-177D-8CEB-3D02-AA737FB9C437}" name="Qaiser Ijaz" initials="QI" userId="S::qaiser@grc360.net::8d024010-4d72-4c52-9997-228ecf5283ca" providerId="AD"/>
  <p188:author id="{DBFEBCB8-4EAC-4F7C-2847-4E87868E4DCE}" name="Iman Kashif" initials="IK" userId="S::iman.kashif@grc360.net::d7404cb9-92b2-4fe8-9d71-bc14b88ad833" providerId="AD"/>
  <p188:author id="{C367D2CC-6C97-68EE-222B-D2ED96236971}" name="Roshan" initials="Ro" userId="S::roshan@grc360.net::858445b3-432b-49eb-8b2e-f8caa1a2d08f" providerId="AD"/>
  <p188:author id="{97FA30FC-2856-DF41-D11B-914DB54D6D94}" name="Syeda Wafa Zainab" initials="SZ" userId="S::wafa.zainab@grc360.net::a56dfdda-2a91-4cb7-800f-6eb553d978e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haled AL-Najjar" initials="KA" lastIdx="1" clrIdx="0">
    <p:extLst>
      <p:ext uri="{19B8F6BF-5375-455C-9EA6-DF929625EA0E}">
        <p15:presenceInfo xmlns:p15="http://schemas.microsoft.com/office/powerpoint/2012/main" userId="1b29402f89455c8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CCB76A"/>
    <a:srgbClr val="9B8357"/>
    <a:srgbClr val="906666"/>
    <a:srgbClr val="6D73AB"/>
    <a:srgbClr val="637052"/>
    <a:srgbClr val="94A088"/>
    <a:srgbClr val="6E9692"/>
    <a:srgbClr val="AD953B"/>
    <a:srgbClr val="00206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ADF0D5B-FD35-4FE4-B089-E801440B3672}" v="20" dt="2025-02-12T07:49:23.10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548" autoAdjust="0"/>
    <p:restoredTop sz="94660"/>
  </p:normalViewPr>
  <p:slideViewPr>
    <p:cSldViewPr snapToGrid="0">
      <p:cViewPr varScale="1">
        <p:scale>
          <a:sx n="75" d="100"/>
          <a:sy n="75" d="100"/>
        </p:scale>
        <p:origin x="739" y="43"/>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10" Type="http://schemas.openxmlformats.org/officeDocument/2006/relationships/slide" Target="slides/slide4.xml"/><Relationship Id="rId11" Type="http://schemas.openxmlformats.org/officeDocument/2006/relationships/slide" Target="slides/slide5.xml"/><Relationship Id="rId12" Type="http://schemas.openxmlformats.org/officeDocument/2006/relationships/slide" Target="slides/slide6.xml"/><Relationship Id="rId13" Type="http://schemas.openxmlformats.org/officeDocument/2006/relationships/slide" Target="slides/slide7.xml"/><Relationship Id="rId14" Type="http://schemas.openxmlformats.org/officeDocument/2006/relationships/slide" Target="slides/slide8.xml"/><Relationship Id="rId15" Type="http://schemas.openxmlformats.org/officeDocument/2006/relationships/slide" Target="slides/slide9.xml"/><Relationship Id="rId16" Type="http://schemas.openxmlformats.org/officeDocument/2006/relationships/slide" Target="slides/slide10.xml"/><Relationship Id="rId17" Type="http://schemas.openxmlformats.org/officeDocument/2006/relationships/slide" Target="slides/slide11.xml"/><Relationship Id="rId18" Type="http://schemas.openxmlformats.org/officeDocument/2006/relationships/slide" Target="slides/slide12.xml"/><Relationship Id="rId19" Type="http://schemas.openxmlformats.org/officeDocument/2006/relationships/slide" Target="slides/slide13.xml"/><Relationship Id="rId2" Type="http://schemas.openxmlformats.org/officeDocument/2006/relationships/customXml" Target="../customXml/item2.xml"/><Relationship Id="rId20" Type="http://schemas.openxmlformats.org/officeDocument/2006/relationships/slide" Target="slides/slide14.xml"/><Relationship Id="rId21" Type="http://schemas.openxmlformats.org/officeDocument/2006/relationships/slide" Target="slides/slide15.xml"/><Relationship Id="rId22" Type="http://schemas.openxmlformats.org/officeDocument/2006/relationships/slide" Target="slides/slide16.xml"/><Relationship Id="rId23" Type="http://schemas.openxmlformats.org/officeDocument/2006/relationships/slide" Target="slides/slide17.xml"/><Relationship Id="rId24" Type="http://schemas.openxmlformats.org/officeDocument/2006/relationships/slide" Target="slides/slide18.xml"/><Relationship Id="rId25" Type="http://schemas.openxmlformats.org/officeDocument/2006/relationships/slide" Target="slides/slide19.xml"/><Relationship Id="rId26" Type="http://schemas.openxmlformats.org/officeDocument/2006/relationships/slide" Target="slides/slide20.xml"/><Relationship Id="rId27" Type="http://schemas.openxmlformats.org/officeDocument/2006/relationships/slide" Target="slides/slide21.xml"/><Relationship Id="rId28" Type="http://schemas.openxmlformats.org/officeDocument/2006/relationships/slide" Target="slides/slide22.xml"/><Relationship Id="rId29" Type="http://schemas.openxmlformats.org/officeDocument/2006/relationships/slide" Target="slides/slide23.xml"/><Relationship Id="rId3" Type="http://schemas.openxmlformats.org/officeDocument/2006/relationships/customXml" Target="../customXml/item3.xml"/><Relationship Id="rId30" Type="http://schemas.openxmlformats.org/officeDocument/2006/relationships/slide" Target="slides/slide24.xml"/><Relationship Id="rId31" Type="http://schemas.openxmlformats.org/officeDocument/2006/relationships/slide" Target="slides/slide25.xml"/><Relationship Id="rId32" Type="http://schemas.openxmlformats.org/officeDocument/2006/relationships/slide" Target="slides/slide26.xml"/><Relationship Id="rId33" Type="http://schemas.openxmlformats.org/officeDocument/2006/relationships/slide" Target="slides/slide27.xml"/><Relationship Id="rId34" Type="http://schemas.openxmlformats.org/officeDocument/2006/relationships/slide" Target="slides/slide28.xml"/><Relationship Id="rId35" Type="http://schemas.openxmlformats.org/officeDocument/2006/relationships/slide" Target="slides/slide29.xml"/><Relationship Id="rId36" Type="http://schemas.openxmlformats.org/officeDocument/2006/relationships/slide" Target="slides/slide30.xml"/><Relationship Id="rId37" Type="http://schemas.openxmlformats.org/officeDocument/2006/relationships/slide" Target="slides/slide31.xml"/><Relationship Id="rId38" Type="http://schemas.openxmlformats.org/officeDocument/2006/relationships/slide" Target="slides/slide32.xml"/><Relationship Id="rId39" Type="http://schemas.openxmlformats.org/officeDocument/2006/relationships/slide" Target="slides/slide33.xml"/><Relationship Id="rId4" Type="http://schemas.openxmlformats.org/officeDocument/2006/relationships/slideMaster" Target="slideMasters/slideMaster1.xml"/><Relationship Id="rId40" Type="http://schemas.openxmlformats.org/officeDocument/2006/relationships/slide" Target="slides/slide34.xml"/><Relationship Id="rId41" Type="http://schemas.openxmlformats.org/officeDocument/2006/relationships/slide" Target="slides/slide35.xml"/><Relationship Id="rId42" Type="http://schemas.openxmlformats.org/officeDocument/2006/relationships/slide" Target="slides/slide36.xml"/><Relationship Id="rId43" Type="http://schemas.openxmlformats.org/officeDocument/2006/relationships/slide" Target="slides/slide37.xml"/><Relationship Id="rId44" Type="http://schemas.openxmlformats.org/officeDocument/2006/relationships/slide" Target="slides/slide38.xml"/><Relationship Id="rId45" Type="http://schemas.openxmlformats.org/officeDocument/2006/relationships/slide" Target="slides/slide39.xml"/><Relationship Id="rId46" Type="http://schemas.openxmlformats.org/officeDocument/2006/relationships/slide" Target="slides/slide40.xml"/><Relationship Id="rId47" Type="http://schemas.openxmlformats.org/officeDocument/2006/relationships/slide" Target="slides/slide41.xml"/><Relationship Id="rId48" Type="http://schemas.openxmlformats.org/officeDocument/2006/relationships/slide" Target="slides/slide42.xml"/><Relationship Id="rId49" Type="http://schemas.openxmlformats.org/officeDocument/2006/relationships/slide" Target="slides/slide43.xml"/><Relationship Id="rId5" Type="http://schemas.openxmlformats.org/officeDocument/2006/relationships/slideMaster" Target="slideMasters/slideMaster2.xml"/><Relationship Id="rId50" Type="http://schemas.openxmlformats.org/officeDocument/2006/relationships/slide" Target="slides/slide44.xml"/><Relationship Id="rId51" Type="http://schemas.openxmlformats.org/officeDocument/2006/relationships/notesMaster" Target="notesMasters/notesMaster1.xml"/><Relationship Id="rId52" Type="http://schemas.openxmlformats.org/officeDocument/2006/relationships/handoutMaster" Target="handoutMasters/handoutMaster1.xml"/><Relationship Id="rId53" Type="http://schemas.openxmlformats.org/officeDocument/2006/relationships/commentAuthors" Target="commentAuthors.xml"/><Relationship Id="rId54" Type="http://schemas.openxmlformats.org/officeDocument/2006/relationships/presProps" Target="presProps.xml"/><Relationship Id="rId55" Type="http://schemas.openxmlformats.org/officeDocument/2006/relationships/viewProps" Target="viewProps.xml"/><Relationship Id="rId56" Type="http://schemas.openxmlformats.org/officeDocument/2006/relationships/theme" Target="theme/theme1.xml"/><Relationship Id="rId57" Type="http://schemas.openxmlformats.org/officeDocument/2006/relationships/tableStyles" Target="tableStyles.xml"/><Relationship Id="rId58" Type="http://schemas.microsoft.com/office/2016/11/relationships/changesInfo" Target="changesInfos/changesInfo1.xml"/><Relationship Id="rId59" Type="http://schemas.microsoft.com/office/2015/10/relationships/revisionInfo" Target="revisionInfo.xml"/><Relationship Id="rId6" Type="http://schemas.openxmlformats.org/officeDocument/2006/relationships/slideMaster" Target="slideMasters/slideMaster3.xml"/><Relationship Id="rId60" Type="http://schemas.microsoft.com/office/2018/10/relationships/authors" Target="authors.xml"/><Relationship Id="rId7" Type="http://schemas.openxmlformats.org/officeDocument/2006/relationships/slide" Target="slides/slide1.xml"/><Relationship Id="rId8" Type="http://schemas.openxmlformats.org/officeDocument/2006/relationships/slide" Target="slides/slide2.xml"/><Relationship Id="rId9"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Iman Kashif" userId="S::iman.kashif@grc360.net::d7404cb9-92b2-4fe8-9d71-bc14b88ad833" providerId="AD" clId="Web-{E79D6B22-E1DE-A23F-CB43-0E139529171A}"/>
    <pc:docChg chg="addSld modSld sldOrd">
      <pc:chgData name="Iman Kashif" userId="S::iman.kashif@grc360.net::d7404cb9-92b2-4fe8-9d71-bc14b88ad833" providerId="AD" clId="Web-{E79D6B22-E1DE-A23F-CB43-0E139529171A}" dt="2025-01-29T12:51:20.314" v="14" actId="20577"/>
      <pc:docMkLst>
        <pc:docMk/>
      </pc:docMkLst>
      <pc:sldChg chg="addSp delSp modSp">
        <pc:chgData name="Iman Kashif" userId="S::iman.kashif@grc360.net::d7404cb9-92b2-4fe8-9d71-bc14b88ad833" providerId="AD" clId="Web-{E79D6B22-E1DE-A23F-CB43-0E139529171A}" dt="2025-01-29T12:11:38.801" v="10" actId="14100"/>
        <pc:sldMkLst>
          <pc:docMk/>
          <pc:sldMk cId="408115" sldId="2147471353"/>
        </pc:sldMkLst>
        <pc:spChg chg="mod">
          <ac:chgData name="Iman Kashif" userId="S::iman.kashif@grc360.net::d7404cb9-92b2-4fe8-9d71-bc14b88ad833" providerId="AD" clId="Web-{E79D6B22-E1DE-A23F-CB43-0E139529171A}" dt="2025-01-29T12:11:38.801" v="10" actId="14100"/>
          <ac:spMkLst>
            <pc:docMk/>
            <pc:sldMk cId="408115" sldId="2147471353"/>
            <ac:spMk id="3" creationId="{24262AC5-2D22-F303-552F-385D034480EC}"/>
          </ac:spMkLst>
        </pc:spChg>
        <pc:spChg chg="mod">
          <ac:chgData name="Iman Kashif" userId="S::iman.kashif@grc360.net::d7404cb9-92b2-4fe8-9d71-bc14b88ad833" providerId="AD" clId="Web-{E79D6B22-E1DE-A23F-CB43-0E139529171A}" dt="2025-01-29T12:02:44.039" v="9"/>
          <ac:spMkLst>
            <pc:docMk/>
            <pc:sldMk cId="408115" sldId="2147471353"/>
            <ac:spMk id="5" creationId="{33B4CA05-F638-48D7-88D6-411385D4AF72}"/>
          </ac:spMkLst>
        </pc:spChg>
        <pc:cxnChg chg="add mod">
          <ac:chgData name="Iman Kashif" userId="S::iman.kashif@grc360.net::d7404cb9-92b2-4fe8-9d71-bc14b88ad833" providerId="AD" clId="Web-{E79D6B22-E1DE-A23F-CB43-0E139529171A}" dt="2025-01-29T12:02:13.194" v="4" actId="1076"/>
          <ac:cxnSpMkLst>
            <pc:docMk/>
            <pc:sldMk cId="408115" sldId="2147471353"/>
            <ac:cxnSpMk id="12" creationId="{3B24E3C9-EDDC-66FE-CB2D-ED35C04FAC72}"/>
          </ac:cxnSpMkLst>
        </pc:cxnChg>
      </pc:sldChg>
      <pc:sldChg chg="modSp add ord">
        <pc:chgData name="Iman Kashif" userId="S::iman.kashif@grc360.net::d7404cb9-92b2-4fe8-9d71-bc14b88ad833" providerId="AD" clId="Web-{E79D6B22-E1DE-A23F-CB43-0E139529171A}" dt="2025-01-29T12:51:20.314" v="14" actId="20577"/>
        <pc:sldMkLst>
          <pc:docMk/>
          <pc:sldMk cId="3838957289" sldId="2147471380"/>
        </pc:sldMkLst>
        <pc:spChg chg="mod">
          <ac:chgData name="Iman Kashif" userId="S::iman.kashif@grc360.net::d7404cb9-92b2-4fe8-9d71-bc14b88ad833" providerId="AD" clId="Web-{E79D6B22-E1DE-A23F-CB43-0E139529171A}" dt="2025-01-29T12:51:20.314" v="14" actId="20577"/>
          <ac:spMkLst>
            <pc:docMk/>
            <pc:sldMk cId="3838957289" sldId="2147471380"/>
            <ac:spMk id="2" creationId="{59F15E76-0BC4-0E25-E690-98E448D608C5}"/>
          </ac:spMkLst>
        </pc:spChg>
      </pc:sldChg>
    </pc:docChg>
  </pc:docChgLst>
  <pc:docChgLst>
    <pc:chgData name="Abdul Rafay" userId="f0baa150-18fb-4df7-9589-7c96eafe2dfb" providerId="ADAL" clId="{3ADF0D5B-FD35-4FE4-B089-E801440B3672}"/>
    <pc:docChg chg="undo custSel modSld">
      <pc:chgData name="Abdul Rafay" userId="f0baa150-18fb-4df7-9589-7c96eafe2dfb" providerId="ADAL" clId="{3ADF0D5B-FD35-4FE4-B089-E801440B3672}" dt="2025-02-12T07:52:01.086" v="193" actId="20577"/>
      <pc:docMkLst>
        <pc:docMk/>
      </pc:docMkLst>
      <pc:sldChg chg="modSp mod">
        <pc:chgData name="Abdul Rafay" userId="f0baa150-18fb-4df7-9589-7c96eafe2dfb" providerId="ADAL" clId="{3ADF0D5B-FD35-4FE4-B089-E801440B3672}" dt="2025-02-12T07:26:31.322" v="126" actId="20577"/>
        <pc:sldMkLst>
          <pc:docMk/>
          <pc:sldMk cId="1137107909" sldId="3545"/>
        </pc:sldMkLst>
        <pc:spChg chg="mod">
          <ac:chgData name="Abdul Rafay" userId="f0baa150-18fb-4df7-9589-7c96eafe2dfb" providerId="ADAL" clId="{3ADF0D5B-FD35-4FE4-B089-E801440B3672}" dt="2025-02-12T07:26:31.322" v="126" actId="20577"/>
          <ac:spMkLst>
            <pc:docMk/>
            <pc:sldMk cId="1137107909" sldId="3545"/>
            <ac:spMk id="5" creationId="{3E1DA7FF-E33F-8FA6-B10E-A514F3CE5355}"/>
          </ac:spMkLst>
        </pc:spChg>
      </pc:sldChg>
      <pc:sldChg chg="addSp modSp mod">
        <pc:chgData name="Abdul Rafay" userId="f0baa150-18fb-4df7-9589-7c96eafe2dfb" providerId="ADAL" clId="{3ADF0D5B-FD35-4FE4-B089-E801440B3672}" dt="2025-02-12T07:30:40.797" v="150" actId="20577"/>
        <pc:sldMkLst>
          <pc:docMk/>
          <pc:sldMk cId="3972853654" sldId="3624"/>
        </pc:sldMkLst>
        <pc:spChg chg="add mod">
          <ac:chgData name="Abdul Rafay" userId="f0baa150-18fb-4df7-9589-7c96eafe2dfb" providerId="ADAL" clId="{3ADF0D5B-FD35-4FE4-B089-E801440B3672}" dt="2025-02-12T07:15:09.209" v="10"/>
          <ac:spMkLst>
            <pc:docMk/>
            <pc:sldMk cId="3972853654" sldId="3624"/>
            <ac:spMk id="5" creationId="{2B987378-EB02-258B-2E58-87607196CC9E}"/>
          </ac:spMkLst>
        </pc:spChg>
        <pc:spChg chg="mod">
          <ac:chgData name="Abdul Rafay" userId="f0baa150-18fb-4df7-9589-7c96eafe2dfb" providerId="ADAL" clId="{3ADF0D5B-FD35-4FE4-B089-E801440B3672}" dt="2025-02-12T07:15:00.787" v="9" actId="21"/>
          <ac:spMkLst>
            <pc:docMk/>
            <pc:sldMk cId="3972853654" sldId="3624"/>
            <ac:spMk id="11" creationId="{6F68C771-E95B-DA44-242F-4C1C373D8EAE}"/>
          </ac:spMkLst>
        </pc:spChg>
        <pc:spChg chg="mod">
          <ac:chgData name="Abdul Rafay" userId="f0baa150-18fb-4df7-9589-7c96eafe2dfb" providerId="ADAL" clId="{3ADF0D5B-FD35-4FE4-B089-E801440B3672}" dt="2025-02-12T07:30:40.797" v="150" actId="20577"/>
          <ac:spMkLst>
            <pc:docMk/>
            <pc:sldMk cId="3972853654" sldId="3624"/>
            <ac:spMk id="13" creationId="{B76AB2C9-E38D-E1C1-9650-DBB604118E0B}"/>
          </ac:spMkLst>
        </pc:spChg>
      </pc:sldChg>
      <pc:sldChg chg="modSp mod">
        <pc:chgData name="Abdul Rafay" userId="f0baa150-18fb-4df7-9589-7c96eafe2dfb" providerId="ADAL" clId="{3ADF0D5B-FD35-4FE4-B089-E801440B3672}" dt="2025-02-12T07:17:04.414" v="43" actId="20577"/>
        <pc:sldMkLst>
          <pc:docMk/>
          <pc:sldMk cId="3456146053" sldId="3638"/>
        </pc:sldMkLst>
        <pc:spChg chg="mod">
          <ac:chgData name="Abdul Rafay" userId="f0baa150-18fb-4df7-9589-7c96eafe2dfb" providerId="ADAL" clId="{3ADF0D5B-FD35-4FE4-B089-E801440B3672}" dt="2025-02-12T07:17:04.414" v="43" actId="20577"/>
          <ac:spMkLst>
            <pc:docMk/>
            <pc:sldMk cId="3456146053" sldId="3638"/>
            <ac:spMk id="3" creationId="{CDE7D77E-6DAA-CF33-0531-C60DED053A2A}"/>
          </ac:spMkLst>
        </pc:spChg>
      </pc:sldChg>
      <pc:sldChg chg="modSp mod modCm">
        <pc:chgData name="Abdul Rafay" userId="f0baa150-18fb-4df7-9589-7c96eafe2dfb" providerId="ADAL" clId="{3ADF0D5B-FD35-4FE4-B089-E801440B3672}" dt="2025-02-12T07:41:26.331" v="153" actId="207"/>
        <pc:sldMkLst>
          <pc:docMk/>
          <pc:sldMk cId="3097266906" sldId="3639"/>
        </pc:sldMkLst>
        <pc:spChg chg="mod">
          <ac:chgData name="Abdul Rafay" userId="f0baa150-18fb-4df7-9589-7c96eafe2dfb" providerId="ADAL" clId="{3ADF0D5B-FD35-4FE4-B089-E801440B3672}" dt="2025-02-12T07:41:26.331" v="153" actId="207"/>
          <ac:spMkLst>
            <pc:docMk/>
            <pc:sldMk cId="3097266906" sldId="3639"/>
            <ac:spMk id="5" creationId="{47056C5C-30D6-960B-FEDD-35AB5990BFA4}"/>
          </ac:spMkLst>
        </pc:spChg>
        <pc:extLst>
          <p:ext xmlns:p="http://schemas.openxmlformats.org/presentationml/2006/main" uri="{D6D511B9-2390-475A-947B-AFAB55BFBCF1}">
            <pc226:cmChg xmlns:pc226="http://schemas.microsoft.com/office/powerpoint/2022/06/main/command" chg="mod">
              <pc226:chgData name="Abdul Rafay" userId="f0baa150-18fb-4df7-9589-7c96eafe2dfb" providerId="ADAL" clId="{3ADF0D5B-FD35-4FE4-B089-E801440B3672}" dt="2025-02-12T07:41:06.490" v="151" actId="20577"/>
              <pc2:cmMkLst xmlns:pc2="http://schemas.microsoft.com/office/powerpoint/2019/9/main/command">
                <pc:docMk/>
                <pc:sldMk cId="3097266906" sldId="3639"/>
                <pc2:cmMk id="{96C9943D-B745-4337-ABB1-1F1FA28DA63E}"/>
              </pc2:cmMkLst>
            </pc226:cmChg>
          </p:ext>
        </pc:extLst>
      </pc:sldChg>
      <pc:sldChg chg="modSp mod">
        <pc:chgData name="Abdul Rafay" userId="f0baa150-18fb-4df7-9589-7c96eafe2dfb" providerId="ADAL" clId="{3ADF0D5B-FD35-4FE4-B089-E801440B3672}" dt="2025-02-12T07:52:01.086" v="193" actId="20577"/>
        <pc:sldMkLst>
          <pc:docMk/>
          <pc:sldMk cId="3027995233" sldId="3665"/>
        </pc:sldMkLst>
        <pc:graphicFrameChg chg="mod modGraphic">
          <ac:chgData name="Abdul Rafay" userId="f0baa150-18fb-4df7-9589-7c96eafe2dfb" providerId="ADAL" clId="{3ADF0D5B-FD35-4FE4-B089-E801440B3672}" dt="2025-02-12T07:52:01.086" v="193" actId="20577"/>
          <ac:graphicFrameMkLst>
            <pc:docMk/>
            <pc:sldMk cId="3027995233" sldId="3665"/>
            <ac:graphicFrameMk id="8" creationId="{00000000-0000-0000-0000-000000000000}"/>
          </ac:graphicFrameMkLst>
        </pc:graphicFrameChg>
      </pc:sldChg>
      <pc:sldChg chg="modSp mod">
        <pc:chgData name="Abdul Rafay" userId="f0baa150-18fb-4df7-9589-7c96eafe2dfb" providerId="ADAL" clId="{3ADF0D5B-FD35-4FE4-B089-E801440B3672}" dt="2025-02-12T07:24:36.570" v="109" actId="5793"/>
        <pc:sldMkLst>
          <pc:docMk/>
          <pc:sldMk cId="3185193840" sldId="2147471352"/>
        </pc:sldMkLst>
        <pc:graphicFrameChg chg="mod modGraphic">
          <ac:chgData name="Abdul Rafay" userId="f0baa150-18fb-4df7-9589-7c96eafe2dfb" providerId="ADAL" clId="{3ADF0D5B-FD35-4FE4-B089-E801440B3672}" dt="2025-02-12T07:24:36.570" v="109" actId="5793"/>
          <ac:graphicFrameMkLst>
            <pc:docMk/>
            <pc:sldMk cId="3185193840" sldId="2147471352"/>
            <ac:graphicFrameMk id="8" creationId="{E056BF1F-93B3-1A4D-FAE0-570AC02851B2}"/>
          </ac:graphicFrameMkLst>
        </pc:graphicFrameChg>
      </pc:sldChg>
    </pc:docChg>
  </pc:docChgLst>
</pc:chgInfo>
</file>

<file path=ppt/comments/modernComment_7FFFCFF9_63A33.xml><?xml version="1.0" encoding="utf-8"?>
<p188:cmLst xmlns:a="http://schemas.openxmlformats.org/drawingml/2006/main" xmlns:r="http://schemas.openxmlformats.org/officeDocument/2006/relationships" xmlns:p188="http://schemas.microsoft.com/office/powerpoint/2018/8/main">
  <p188:cm id="{DB629877-6EC8-41B5-939C-2826FD20E4FC}" authorId="{B9FC8C96-177D-8CEB-3D02-AA737FB9C437}" status="resolved" created="2025-01-22T11:56:11.163" complete="100000">
    <pc:sldMkLst xmlns:pc="http://schemas.microsoft.com/office/powerpoint/2013/main/command">
      <pc:docMk/>
      <pc:sldMk cId="408115" sldId="2147471353"/>
    </pc:sldMkLst>
    <p188:replyLst>
      <p188:reply id="{68FE4FC7-F2B6-426A-9AA7-C5B3D1370E0C}" authorId="{DBFEBCB8-4EAC-4F7C-2847-4E87868E4DCE}" created="2025-01-29T12:03:22.618">
        <p188:txBody>
          <a:bodyPr/>
          <a:lstStyle/>
          <a:p>
            <a:r>
              <a:rPr lang="en-US"/>
              <a:t>the project has to be completed in 8 weeks - so 4 weeks for pre-audit and 4 weeks for final audit</a:t>
            </a:r>
          </a:p>
        </p188:txBody>
      </p188:reply>
    </p188:replyLst>
    <p188:txBody>
      <a:bodyPr/>
      <a:lstStyle/>
      <a:p>
        <a:r>
          <a:rPr lang="en-US"/>
          <a:t>Pre-Audit should be 5-6 Weeks its too much tight deadline.</a:t>
        </a:r>
      </a:p>
    </p188:txBody>
    <p188:extLst>
      <p:ext xmlns:p="http://schemas.openxmlformats.org/presentationml/2006/main" uri="{57CB4572-C831-44C2-8A1C-0ADB6CCDFE69}">
        <p223:reactions xmlns:p223="http://schemas.microsoft.com/office/powerpoint/2022/03/main">
          <p223:rxn type="👍">
            <p223:instance time="2025-01-26T08:29:04.830" authorId="{C367D2CC-6C97-68EE-222B-D2ED96236971}"/>
          </p223:rxn>
        </p223:reactions>
      </p:ext>
    </p188:extLst>
  </p188:cm>
</p188:cmLst>
</file>

<file path=ppt/comments/modernComment_7FFFD014_E4D1D6E9.xml><?xml version="1.0" encoding="utf-8"?>
<p188:cmLst xmlns:a="http://schemas.openxmlformats.org/drawingml/2006/main" xmlns:r="http://schemas.openxmlformats.org/officeDocument/2006/relationships" xmlns:p188="http://schemas.microsoft.com/office/powerpoint/2018/8/main">
  <p188:cm id="{EB36024D-BC37-4DB2-8AC0-3374E1F2F899}" authorId="{C367D2CC-6C97-68EE-222B-D2ED96236971}" status="resolved" created="2025-01-26T07:50:56.386" complete="100000">
    <ac:deMkLst xmlns:ac="http://schemas.microsoft.com/office/drawing/2013/main/command">
      <pc:docMk xmlns:pc="http://schemas.microsoft.com/office/powerpoint/2013/main/command"/>
      <pc:sldMk xmlns:pc="http://schemas.microsoft.com/office/powerpoint/2013/main/command" cId="3838957289" sldId="2147471380"/>
      <ac:picMk id="41" creationId="{15E25578-9662-17D9-4973-C061F75898F8}"/>
    </ac:deMkLst>
    <p188:txBody>
      <a:bodyPr/>
      <a:lstStyle/>
      <a:p>
        <a:r>
          <a:rPr lang="en-GB"/>
          <a:t>[@Schuwaz Roohina] this picture is grainy and stands out from the rest of polished slides.</a:t>
        </a:r>
      </a:p>
    </p188:txBody>
  </p188:cm>
</p188:cmLst>
</file>

<file path=ppt/comments/modernComment_7FFFD04B_FDF57C1.xml><?xml version="1.0" encoding="utf-8"?>
<p188:cmLst xmlns:a="http://schemas.openxmlformats.org/drawingml/2006/main" xmlns:r="http://schemas.openxmlformats.org/officeDocument/2006/relationships" xmlns:p188="http://schemas.microsoft.com/office/powerpoint/2018/8/main">
  <p188:cm id="{9D6F3719-A57D-4F66-9C41-B8A51EAA2DA4}" authorId="{C367D2CC-6C97-68EE-222B-D2ED96236971}" status="resolved" created="2025-01-26T08:15:33.840" complete="100000">
    <ac:deMkLst xmlns:ac="http://schemas.microsoft.com/office/drawing/2013/main/command">
      <pc:docMk xmlns:pc="http://schemas.microsoft.com/office/powerpoint/2013/main/command"/>
      <pc:sldMk xmlns:pc="http://schemas.microsoft.com/office/powerpoint/2013/main/command" cId="1137942195" sldId="3647"/>
      <ac:graphicFrameMk id="8" creationId="{917CABC4-07FC-7895-E221-DFCFF23007C4}"/>
    </ac:deMkLst>
    <p188:txBody>
      <a:bodyPr/>
      <a:lstStyle/>
      <a:p>
        <a:r>
          <a:rPr lang="en-GB"/>
          <a:t>[@Iman Kashif] shouldn't the colour get darker as the levels increase instead of the other way?</a:t>
        </a:r>
      </a:p>
    </p188:txBody>
  </p188:cm>
</p188:cmLst>
</file>

<file path=ppt/comments/modernComment_DD9_43C6E3C5.xml><?xml version="1.0" encoding="utf-8"?>
<p188:cmLst xmlns:a="http://schemas.openxmlformats.org/drawingml/2006/main" xmlns:r="http://schemas.openxmlformats.org/officeDocument/2006/relationships" xmlns:p188="http://schemas.microsoft.com/office/powerpoint/2018/8/main">
  <p188:cm id="{7F158F9D-30A7-4849-BDF2-123C598AF095}" authorId="{DBFEBCB8-4EAC-4F7C-2847-4E87868E4DCE}" created="2025-01-01T06:45:54.792">
    <pc:sldMkLst xmlns:pc="http://schemas.microsoft.com/office/powerpoint/2013/main/command">
      <pc:docMk/>
      <pc:sldMk cId="1137107909" sldId="3545"/>
    </pc:sldMkLst>
    <p188:txBody>
      <a:bodyPr/>
      <a:lstStyle/>
      <a:p>
        <a:r>
          <a:rPr lang="en-US"/>
          <a:t>Add Client Name</a:t>
        </a:r>
      </a:p>
    </p188:txBody>
  </p188:cm>
</p188:cmLst>
</file>

<file path=ppt/comments/modernComment_E28_ECCCEF96.xml><?xml version="1.0" encoding="utf-8"?>
<p188:cmLst xmlns:a="http://schemas.openxmlformats.org/drawingml/2006/main" xmlns:r="http://schemas.openxmlformats.org/officeDocument/2006/relationships" xmlns:p188="http://schemas.microsoft.com/office/powerpoint/2018/8/main">
  <p188:cm id="{B1BC3339-99BF-4233-96D2-AA7F2CCA900D}" authorId="{DBFEBCB8-4EAC-4F7C-2847-4E87868E4DCE}" created="2025-01-01T06:58:19.049">
    <pc:sldMkLst xmlns:pc="http://schemas.microsoft.com/office/powerpoint/2013/main/command">
      <pc:docMk/>
      <pc:sldMk cId="3972853654" sldId="3624"/>
    </pc:sldMkLst>
    <p188:txBody>
      <a:bodyPr/>
      <a:lstStyle/>
      <a:p>
        <a:r>
          <a:rPr lang="en-US"/>
          <a:t>Add Company Logo</a:t>
        </a:r>
      </a:p>
    </p188:txBody>
  </p188:cm>
  <p188:cm id="{0ADFFA9A-83B9-430C-85E9-A6D63004DC44}" authorId="{DBFEBCB8-4EAC-4F7C-2847-4E87868E4DCE}" created="2025-01-01T06:58:39.519">
    <pc:sldMkLst xmlns:pc="http://schemas.microsoft.com/office/powerpoint/2013/main/command">
      <pc:docMk/>
      <pc:sldMk cId="3972853654" sldId="3624"/>
    </pc:sldMkLst>
    <p188:txBody>
      <a:bodyPr/>
      <a:lstStyle/>
      <a:p>
        <a:r>
          <a:rPr lang="en-US"/>
          <a:t>Update Date of Submission</a:t>
        </a:r>
      </a:p>
    </p188:txBody>
  </p188:cm>
</p188:cmLst>
</file>

<file path=ppt/comments/modernComment_E36_CE009A85.xml><?xml version="1.0" encoding="utf-8"?>
<p188:cmLst xmlns:a="http://schemas.openxmlformats.org/drawingml/2006/main" xmlns:r="http://schemas.openxmlformats.org/officeDocument/2006/relationships" xmlns:p188="http://schemas.microsoft.com/office/powerpoint/2018/8/main">
  <p188:cm id="{1F885785-A402-4511-8ECA-299F2F3B67E6}" authorId="{DBFEBCB8-4EAC-4F7C-2847-4E87868E4DCE}" created="2025-01-01T07:08:42.920">
    <ac:deMkLst xmlns:ac="http://schemas.microsoft.com/office/drawing/2013/main/command">
      <pc:docMk xmlns:pc="http://schemas.microsoft.com/office/powerpoint/2013/main/command"/>
      <pc:sldMk xmlns:pc="http://schemas.microsoft.com/office/powerpoint/2013/main/command" cId="3456146053" sldId="3638"/>
      <ac:spMk id="3" creationId="{CDE7D77E-6DAA-CF33-0531-C60DED053A2A}"/>
    </ac:deMkLst>
    <p188:txBody>
      <a:bodyPr/>
      <a:lstStyle/>
      <a:p>
        <a:r>
          <a:rPr lang="en-US"/>
          <a:t>Add Company Name</a:t>
        </a:r>
      </a:p>
    </p188:txBody>
  </p188:cm>
  <p188:cm id="{A306C198-0B42-4DDE-A1B6-59A60171569D}" authorId="{DBFEBCB8-4EAC-4F7C-2847-4E87868E4DCE}" created="2025-01-01T07:09:05.374">
    <ac:deMkLst xmlns:ac="http://schemas.microsoft.com/office/drawing/2013/main/command">
      <pc:docMk xmlns:pc="http://schemas.microsoft.com/office/powerpoint/2013/main/command"/>
      <pc:sldMk xmlns:pc="http://schemas.microsoft.com/office/powerpoint/2013/main/command" cId="3456146053" sldId="3638"/>
      <ac:spMk id="3" creationId="{CDE7D77E-6DAA-CF33-0531-C60DED053A2A}"/>
    </ac:deMkLst>
    <p188:txBody>
      <a:bodyPr/>
      <a:lstStyle/>
      <a:p>
        <a:r>
          <a:rPr lang="en-US"/>
          <a:t>Update Scope in Terms of Services Offered to the Company</a:t>
        </a:r>
      </a:p>
    </p188:txBody>
  </p188:cm>
</p188:cmLst>
</file>

<file path=ppt/comments/modernComment_E37_B89C8ADA.xml><?xml version="1.0" encoding="utf-8"?>
<p188:cmLst xmlns:a="http://schemas.openxmlformats.org/drawingml/2006/main" xmlns:r="http://schemas.openxmlformats.org/officeDocument/2006/relationships" xmlns:p188="http://schemas.microsoft.com/office/powerpoint/2018/8/main">
  <p188:cm id="{96C9943D-B745-4337-ABB1-1F1FA28DA63E}" authorId="{DBFEBCB8-4EAC-4F7C-2847-4E87868E4DCE}" created="2025-01-01T07:10:17.611">
    <ac:txMkLst xmlns:ac="http://schemas.microsoft.com/office/drawing/2013/main/command">
      <pc:docMk xmlns:pc="http://schemas.microsoft.com/office/powerpoint/2013/main/command"/>
      <pc:sldMk xmlns:pc="http://schemas.microsoft.com/office/powerpoint/2013/main/command" cId="3097266906" sldId="3639"/>
      <ac:spMk id="5" creationId="{47056C5C-30D6-960B-FEDD-35AB5990BFA4}"/>
      <ac:txMk cp="63">
        <ac:context len="273" hash="2728935949"/>
      </ac:txMk>
    </ac:txMkLst>
    <p188:pos x="3112576" y="581186"/>
    <p188:txBody>
      <a:bodyPr/>
      <a:lstStyle/>
      <a:p>
        <a:r>
          <a:rPr lang="en-US"/>
          <a:t>Update Scope Accordingly </a:t>
        </a:r>
      </a:p>
    </p188:txBody>
  </p188:cm>
  <p188:cm id="{6B06273E-D72F-428A-9A45-4E74DEAED898}" authorId="{DBFEBCB8-4EAC-4F7C-2847-4E87868E4DCE}" created="2025-01-01T07:10:39.080">
    <ac:deMkLst xmlns:ac="http://schemas.microsoft.com/office/drawing/2013/main/command">
      <pc:docMk xmlns:pc="http://schemas.microsoft.com/office/powerpoint/2013/main/command"/>
      <pc:sldMk xmlns:pc="http://schemas.microsoft.com/office/powerpoint/2013/main/command" cId="3097266906" sldId="3639"/>
      <ac:spMk id="5" creationId="{47056C5C-30D6-960B-FEDD-35AB5990BFA4}"/>
    </ac:deMkLst>
    <p188:txBody>
      <a:bodyPr/>
      <a:lstStyle/>
      <a:p>
        <a:r>
          <a:rPr lang="en-US"/>
          <a:t>Add Company Name</a:t>
        </a:r>
      </a:p>
    </p188:txBody>
  </p188:cm>
</p188:cmLst>
</file>

<file path=ppt/comments/modernComment_E50_9ED53407.xml><?xml version="1.0" encoding="utf-8"?>
<p188:cmLst xmlns:a="http://schemas.openxmlformats.org/drawingml/2006/main" xmlns:r="http://schemas.openxmlformats.org/officeDocument/2006/relationships" xmlns:p188="http://schemas.microsoft.com/office/powerpoint/2018/8/main">
  <p188:cm id="{AC4AFF9F-2C16-42DB-AB70-5486F115DA62}" authorId="{DBFEBCB8-4EAC-4F7C-2847-4E87868E4DCE}" status="resolved" created="2025-01-01T07:21:06.702" complete="100000">
    <pc:sldMkLst xmlns:pc="http://schemas.microsoft.com/office/powerpoint/2013/main/command">
      <pc:docMk/>
      <pc:sldMk cId="2664772615" sldId="3664"/>
    </pc:sldMkLst>
    <p188:replyLst>
      <p188:reply id="{74B8CCFC-2E82-4DC4-8EB7-DE89CA47D7EA}" authorId="{B9FC8C96-177D-8CEB-3D02-AA737FB9C437}" created="2025-01-22T12:37:28.893">
        <p188:txBody>
          <a:bodyPr/>
          <a:lstStyle/>
          <a:p>
            <a:r>
              <a:rPr lang="en-US"/>
              <a:t>Included but before contact us</a:t>
            </a:r>
          </a:p>
        </p188:txBody>
      </p188:reply>
    </p188:replyLst>
    <p188:txBody>
      <a:bodyPr/>
      <a:lstStyle/>
      <a:p>
        <a:r>
          <a:rPr lang="en-US"/>
          <a:t>Confirm if this section is to be included</a:t>
        </a:r>
      </a:p>
    </p188:txBody>
  </p188:cm>
</p188:cmLst>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CF84A45-6F85-4307-828F-807BF95F0755}" type="doc">
      <dgm:prSet loTypeId="urn:microsoft.com/office/officeart/2009/3/layout/StepUpProcess" loCatId="process" qsTypeId="urn:microsoft.com/office/officeart/2005/8/quickstyle/simple1" qsCatId="simple" csTypeId="urn:microsoft.com/office/officeart/2005/8/colors/colorful3" csCatId="colorful" phldr="1"/>
      <dgm:spPr/>
      <dgm:t>
        <a:bodyPr/>
        <a:lstStyle/>
        <a:p>
          <a:endParaRPr lang="en-GB"/>
        </a:p>
      </dgm:t>
    </dgm:pt>
    <dgm:pt modelId="{6D3E8CC5-D257-4BD4-B954-88AD18831D39}">
      <dgm:prSet custT="1"/>
      <dgm:spPr/>
      <dgm:t>
        <a:bodyPr/>
        <a:lstStyle/>
        <a:p>
          <a:r>
            <a:rPr lang="en-US" sz="1600" b="1"/>
            <a:t>LEVEL 0</a:t>
          </a:r>
          <a:endParaRPr lang="en-GB" sz="1600" b="1"/>
        </a:p>
      </dgm:t>
    </dgm:pt>
    <dgm:pt modelId="{C402D276-4196-4143-ADE6-CAAEA81D743E}" type="parTrans" cxnId="{FE5571B8-DFCF-4ED6-8BB3-79C15C704FE7}">
      <dgm:prSet/>
      <dgm:spPr/>
      <dgm:t>
        <a:bodyPr/>
        <a:lstStyle/>
        <a:p>
          <a:endParaRPr lang="en-GB" sz="1600" b="1"/>
        </a:p>
      </dgm:t>
    </dgm:pt>
    <dgm:pt modelId="{D3B6916D-B8D6-4A05-9E69-28CBFCD30910}" type="sibTrans" cxnId="{FE5571B8-DFCF-4ED6-8BB3-79C15C704FE7}">
      <dgm:prSet/>
      <dgm:spPr/>
      <dgm:t>
        <a:bodyPr/>
        <a:lstStyle/>
        <a:p>
          <a:endParaRPr lang="en-GB" sz="1600" b="1"/>
        </a:p>
      </dgm:t>
    </dgm:pt>
    <dgm:pt modelId="{025E462D-CAE4-402E-A0BC-463D35BAC7FD}">
      <dgm:prSet custT="1"/>
      <dgm:spPr/>
      <dgm:t>
        <a:bodyPr/>
        <a:lstStyle/>
        <a:p>
          <a:r>
            <a:rPr lang="en-US" sz="1600" b="1"/>
            <a:t>LEVEL 1</a:t>
          </a:r>
          <a:endParaRPr lang="en-GB" sz="1600" b="1"/>
        </a:p>
      </dgm:t>
    </dgm:pt>
    <dgm:pt modelId="{E686D7F7-32A0-429F-B9FA-2DBE7FDCB55D}" type="parTrans" cxnId="{F745E19E-6119-4FD7-A346-38479168516E}">
      <dgm:prSet/>
      <dgm:spPr/>
      <dgm:t>
        <a:bodyPr/>
        <a:lstStyle/>
        <a:p>
          <a:endParaRPr lang="en-GB" sz="1600" b="1"/>
        </a:p>
      </dgm:t>
    </dgm:pt>
    <dgm:pt modelId="{B56101A8-68E3-435B-8E1A-CA7B08D94C05}" type="sibTrans" cxnId="{F745E19E-6119-4FD7-A346-38479168516E}">
      <dgm:prSet/>
      <dgm:spPr/>
      <dgm:t>
        <a:bodyPr/>
        <a:lstStyle/>
        <a:p>
          <a:endParaRPr lang="en-GB" sz="1600" b="1"/>
        </a:p>
      </dgm:t>
    </dgm:pt>
    <dgm:pt modelId="{3D0EB99A-7CA1-4CF9-A3EF-31B130D7AE80}">
      <dgm:prSet custT="1"/>
      <dgm:spPr/>
      <dgm:t>
        <a:bodyPr/>
        <a:lstStyle/>
        <a:p>
          <a:r>
            <a:rPr lang="en-US" sz="1600" b="1"/>
            <a:t>LEVEL 2</a:t>
          </a:r>
          <a:endParaRPr lang="en-GB" sz="1600" b="1"/>
        </a:p>
      </dgm:t>
    </dgm:pt>
    <dgm:pt modelId="{711DF4C7-BB4E-4FEB-9199-50B0BFC9FD47}" type="parTrans" cxnId="{39864AA8-D772-457A-BDD9-BED8DE18E07D}">
      <dgm:prSet/>
      <dgm:spPr/>
      <dgm:t>
        <a:bodyPr/>
        <a:lstStyle/>
        <a:p>
          <a:endParaRPr lang="en-GB" sz="1600" b="1"/>
        </a:p>
      </dgm:t>
    </dgm:pt>
    <dgm:pt modelId="{C20DF9C5-18BF-4167-8098-1958867EAFCB}" type="sibTrans" cxnId="{39864AA8-D772-457A-BDD9-BED8DE18E07D}">
      <dgm:prSet/>
      <dgm:spPr/>
      <dgm:t>
        <a:bodyPr/>
        <a:lstStyle/>
        <a:p>
          <a:endParaRPr lang="en-GB" sz="1600" b="1"/>
        </a:p>
      </dgm:t>
    </dgm:pt>
    <dgm:pt modelId="{A1CB2ACD-5EEE-4195-94E5-CB580E8F0C1A}">
      <dgm:prSet custT="1"/>
      <dgm:spPr/>
      <dgm:t>
        <a:bodyPr/>
        <a:lstStyle/>
        <a:p>
          <a:r>
            <a:rPr lang="en-US" sz="1600" b="1"/>
            <a:t>LEVEL 3</a:t>
          </a:r>
          <a:endParaRPr lang="en-GB" sz="1600" b="1"/>
        </a:p>
      </dgm:t>
    </dgm:pt>
    <dgm:pt modelId="{20ADDAEB-13F9-41D4-8A4E-B7C6AF303D13}" type="parTrans" cxnId="{8341CE70-6FBC-4153-98BC-ADDBD12EF703}">
      <dgm:prSet/>
      <dgm:spPr/>
      <dgm:t>
        <a:bodyPr/>
        <a:lstStyle/>
        <a:p>
          <a:endParaRPr lang="en-GB" sz="1600" b="1"/>
        </a:p>
      </dgm:t>
    </dgm:pt>
    <dgm:pt modelId="{D288F41F-E3C0-4FF6-8BC6-3059D22C6303}" type="sibTrans" cxnId="{8341CE70-6FBC-4153-98BC-ADDBD12EF703}">
      <dgm:prSet/>
      <dgm:spPr/>
      <dgm:t>
        <a:bodyPr/>
        <a:lstStyle/>
        <a:p>
          <a:endParaRPr lang="en-GB" sz="1600" b="1"/>
        </a:p>
      </dgm:t>
    </dgm:pt>
    <dgm:pt modelId="{95B3FB1B-74BF-4867-A0E1-B0FA13A03D27}">
      <dgm:prSet custT="1"/>
      <dgm:spPr/>
      <dgm:t>
        <a:bodyPr/>
        <a:lstStyle/>
        <a:p>
          <a:r>
            <a:rPr lang="en-US" sz="1600" b="1"/>
            <a:t>LEVEL 4</a:t>
          </a:r>
          <a:endParaRPr lang="en-GB" sz="1600" b="1"/>
        </a:p>
      </dgm:t>
    </dgm:pt>
    <dgm:pt modelId="{5DCEEB49-F171-4E4F-8845-442A282A3BD6}" type="parTrans" cxnId="{8CB58D09-9EBA-4BAF-BD8C-9CA292A68789}">
      <dgm:prSet/>
      <dgm:spPr/>
      <dgm:t>
        <a:bodyPr/>
        <a:lstStyle/>
        <a:p>
          <a:endParaRPr lang="en-GB" sz="1600" b="1"/>
        </a:p>
      </dgm:t>
    </dgm:pt>
    <dgm:pt modelId="{68FAFBC6-801E-4C9D-AB94-59B51725D2E6}" type="sibTrans" cxnId="{8CB58D09-9EBA-4BAF-BD8C-9CA292A68789}">
      <dgm:prSet/>
      <dgm:spPr/>
      <dgm:t>
        <a:bodyPr/>
        <a:lstStyle/>
        <a:p>
          <a:endParaRPr lang="en-GB" sz="1600" b="1"/>
        </a:p>
      </dgm:t>
    </dgm:pt>
    <dgm:pt modelId="{9272EA2E-760C-42F7-ACDB-DB39D1917EF4}">
      <dgm:prSet custT="1"/>
      <dgm:spPr/>
      <dgm:t>
        <a:bodyPr/>
        <a:lstStyle/>
        <a:p>
          <a:r>
            <a:rPr lang="en-US" sz="1600" b="1"/>
            <a:t>LEVEL 5</a:t>
          </a:r>
          <a:endParaRPr lang="en-GB" sz="1600" b="1"/>
        </a:p>
      </dgm:t>
    </dgm:pt>
    <dgm:pt modelId="{307EDA71-BE40-4265-8A40-F47BE362B94C}" type="parTrans" cxnId="{608AF401-BE2C-42A5-9F74-7FD6AF655103}">
      <dgm:prSet/>
      <dgm:spPr/>
      <dgm:t>
        <a:bodyPr/>
        <a:lstStyle/>
        <a:p>
          <a:endParaRPr lang="en-GB" sz="1600" b="1"/>
        </a:p>
      </dgm:t>
    </dgm:pt>
    <dgm:pt modelId="{F7107ECF-7DBA-4715-9A21-7F97F4509026}" type="sibTrans" cxnId="{608AF401-BE2C-42A5-9F74-7FD6AF655103}">
      <dgm:prSet/>
      <dgm:spPr/>
      <dgm:t>
        <a:bodyPr/>
        <a:lstStyle/>
        <a:p>
          <a:endParaRPr lang="en-GB" sz="1600" b="1"/>
        </a:p>
      </dgm:t>
    </dgm:pt>
    <dgm:pt modelId="{17366E26-D54F-43E1-AAB5-D5E920AB7D8D}" type="pres">
      <dgm:prSet presAssocID="{7CF84A45-6F85-4307-828F-807BF95F0755}" presName="rootnode" presStyleCnt="0">
        <dgm:presLayoutVars>
          <dgm:chMax/>
          <dgm:chPref/>
          <dgm:dir/>
          <dgm:animLvl val="lvl"/>
        </dgm:presLayoutVars>
      </dgm:prSet>
      <dgm:spPr/>
    </dgm:pt>
    <dgm:pt modelId="{A36BBAE7-982E-4F6E-9EF1-B5EDA583D33A}" type="pres">
      <dgm:prSet presAssocID="{6D3E8CC5-D257-4BD4-B954-88AD18831D39}" presName="composite" presStyleCnt="0"/>
      <dgm:spPr/>
    </dgm:pt>
    <dgm:pt modelId="{7ABA5DD0-B160-4BCB-8927-447C4F773E6D}" type="pres">
      <dgm:prSet presAssocID="{6D3E8CC5-D257-4BD4-B954-88AD18831D39}" presName="LShape" presStyleLbl="alignNode1" presStyleIdx="0" presStyleCnt="11"/>
      <dgm:spPr/>
    </dgm:pt>
    <dgm:pt modelId="{818080E7-9CB9-4D06-BB81-D20B02876BED}" type="pres">
      <dgm:prSet presAssocID="{6D3E8CC5-D257-4BD4-B954-88AD18831D39}" presName="ParentText" presStyleLbl="revTx" presStyleIdx="0" presStyleCnt="6">
        <dgm:presLayoutVars>
          <dgm:chMax val="0"/>
          <dgm:chPref val="0"/>
          <dgm:bulletEnabled val="1"/>
        </dgm:presLayoutVars>
      </dgm:prSet>
      <dgm:spPr/>
    </dgm:pt>
    <dgm:pt modelId="{CA65AB69-8EA1-4DB3-8207-CC482BACEE14}" type="pres">
      <dgm:prSet presAssocID="{6D3E8CC5-D257-4BD4-B954-88AD18831D39}" presName="Triangle" presStyleLbl="alignNode1" presStyleIdx="1" presStyleCnt="11"/>
      <dgm:spPr/>
    </dgm:pt>
    <dgm:pt modelId="{57FDE56A-EDDE-4539-A73E-A69B40218607}" type="pres">
      <dgm:prSet presAssocID="{D3B6916D-B8D6-4A05-9E69-28CBFCD30910}" presName="sibTrans" presStyleCnt="0"/>
      <dgm:spPr/>
    </dgm:pt>
    <dgm:pt modelId="{B2CA8149-9613-4494-B944-6674B09C6E86}" type="pres">
      <dgm:prSet presAssocID="{D3B6916D-B8D6-4A05-9E69-28CBFCD30910}" presName="space" presStyleCnt="0"/>
      <dgm:spPr/>
    </dgm:pt>
    <dgm:pt modelId="{DC60F710-33A7-48BE-8978-55DD84DDEC31}" type="pres">
      <dgm:prSet presAssocID="{025E462D-CAE4-402E-A0BC-463D35BAC7FD}" presName="composite" presStyleCnt="0"/>
      <dgm:spPr/>
    </dgm:pt>
    <dgm:pt modelId="{19479392-A808-4218-BC05-7103214E761B}" type="pres">
      <dgm:prSet presAssocID="{025E462D-CAE4-402E-A0BC-463D35BAC7FD}" presName="LShape" presStyleLbl="alignNode1" presStyleIdx="2" presStyleCnt="11"/>
      <dgm:spPr/>
    </dgm:pt>
    <dgm:pt modelId="{A41CC9DE-0B78-4A7E-914B-AD5D420512E9}" type="pres">
      <dgm:prSet presAssocID="{025E462D-CAE4-402E-A0BC-463D35BAC7FD}" presName="ParentText" presStyleLbl="revTx" presStyleIdx="1" presStyleCnt="6">
        <dgm:presLayoutVars>
          <dgm:chMax val="0"/>
          <dgm:chPref val="0"/>
          <dgm:bulletEnabled val="1"/>
        </dgm:presLayoutVars>
      </dgm:prSet>
      <dgm:spPr/>
    </dgm:pt>
    <dgm:pt modelId="{BE4B9422-992B-4A40-80F6-2B7D3B5350B9}" type="pres">
      <dgm:prSet presAssocID="{025E462D-CAE4-402E-A0BC-463D35BAC7FD}" presName="Triangle" presStyleLbl="alignNode1" presStyleIdx="3" presStyleCnt="11"/>
      <dgm:spPr/>
    </dgm:pt>
    <dgm:pt modelId="{E4F201FE-82AA-4DEA-A45B-838BB04430CE}" type="pres">
      <dgm:prSet presAssocID="{B56101A8-68E3-435B-8E1A-CA7B08D94C05}" presName="sibTrans" presStyleCnt="0"/>
      <dgm:spPr/>
    </dgm:pt>
    <dgm:pt modelId="{E3EBD174-1AC0-4985-AC2E-B876A6BD413F}" type="pres">
      <dgm:prSet presAssocID="{B56101A8-68E3-435B-8E1A-CA7B08D94C05}" presName="space" presStyleCnt="0"/>
      <dgm:spPr/>
    </dgm:pt>
    <dgm:pt modelId="{986BDD70-530F-4F43-B7F1-1CEAAD602A3A}" type="pres">
      <dgm:prSet presAssocID="{3D0EB99A-7CA1-4CF9-A3EF-31B130D7AE80}" presName="composite" presStyleCnt="0"/>
      <dgm:spPr/>
    </dgm:pt>
    <dgm:pt modelId="{A3FF11FF-1532-4EE2-80A1-730EDE62CFA0}" type="pres">
      <dgm:prSet presAssocID="{3D0EB99A-7CA1-4CF9-A3EF-31B130D7AE80}" presName="LShape" presStyleLbl="alignNode1" presStyleIdx="4" presStyleCnt="11"/>
      <dgm:spPr/>
    </dgm:pt>
    <dgm:pt modelId="{0A16A887-7BFD-4A31-BC2D-97D7A543B6DF}" type="pres">
      <dgm:prSet presAssocID="{3D0EB99A-7CA1-4CF9-A3EF-31B130D7AE80}" presName="ParentText" presStyleLbl="revTx" presStyleIdx="2" presStyleCnt="6">
        <dgm:presLayoutVars>
          <dgm:chMax val="0"/>
          <dgm:chPref val="0"/>
          <dgm:bulletEnabled val="1"/>
        </dgm:presLayoutVars>
      </dgm:prSet>
      <dgm:spPr/>
    </dgm:pt>
    <dgm:pt modelId="{A321739A-1D1B-4D3E-95E0-2E3122B0E43A}" type="pres">
      <dgm:prSet presAssocID="{3D0EB99A-7CA1-4CF9-A3EF-31B130D7AE80}" presName="Triangle" presStyleLbl="alignNode1" presStyleIdx="5" presStyleCnt="11"/>
      <dgm:spPr/>
    </dgm:pt>
    <dgm:pt modelId="{18DEDB7B-5336-49D4-AD0A-4715522628A9}" type="pres">
      <dgm:prSet presAssocID="{C20DF9C5-18BF-4167-8098-1958867EAFCB}" presName="sibTrans" presStyleCnt="0"/>
      <dgm:spPr/>
    </dgm:pt>
    <dgm:pt modelId="{7A688923-8E37-4DA8-9518-87FF00B3B740}" type="pres">
      <dgm:prSet presAssocID="{C20DF9C5-18BF-4167-8098-1958867EAFCB}" presName="space" presStyleCnt="0"/>
      <dgm:spPr/>
    </dgm:pt>
    <dgm:pt modelId="{4BFBF6B0-AFBF-4B69-B3B3-8FD5D5245D77}" type="pres">
      <dgm:prSet presAssocID="{A1CB2ACD-5EEE-4195-94E5-CB580E8F0C1A}" presName="composite" presStyleCnt="0"/>
      <dgm:spPr/>
    </dgm:pt>
    <dgm:pt modelId="{3F100B55-7F85-4B0D-AFC9-74ED14FD5B46}" type="pres">
      <dgm:prSet presAssocID="{A1CB2ACD-5EEE-4195-94E5-CB580E8F0C1A}" presName="LShape" presStyleLbl="alignNode1" presStyleIdx="6" presStyleCnt="11"/>
      <dgm:spPr/>
    </dgm:pt>
    <dgm:pt modelId="{0B515BFE-2370-4CEE-8AF0-9D7E3B283971}" type="pres">
      <dgm:prSet presAssocID="{A1CB2ACD-5EEE-4195-94E5-CB580E8F0C1A}" presName="ParentText" presStyleLbl="revTx" presStyleIdx="3" presStyleCnt="6">
        <dgm:presLayoutVars>
          <dgm:chMax val="0"/>
          <dgm:chPref val="0"/>
          <dgm:bulletEnabled val="1"/>
        </dgm:presLayoutVars>
      </dgm:prSet>
      <dgm:spPr/>
    </dgm:pt>
    <dgm:pt modelId="{88BFB8A1-75E6-452C-8DA7-2FE5A74AD386}" type="pres">
      <dgm:prSet presAssocID="{A1CB2ACD-5EEE-4195-94E5-CB580E8F0C1A}" presName="Triangle" presStyleLbl="alignNode1" presStyleIdx="7" presStyleCnt="11"/>
      <dgm:spPr/>
    </dgm:pt>
    <dgm:pt modelId="{9AE966F4-A066-4B81-B24B-633661C1F25C}" type="pres">
      <dgm:prSet presAssocID="{D288F41F-E3C0-4FF6-8BC6-3059D22C6303}" presName="sibTrans" presStyleCnt="0"/>
      <dgm:spPr/>
    </dgm:pt>
    <dgm:pt modelId="{251A6A54-5391-480D-8BEE-DF592CC36887}" type="pres">
      <dgm:prSet presAssocID="{D288F41F-E3C0-4FF6-8BC6-3059D22C6303}" presName="space" presStyleCnt="0"/>
      <dgm:spPr/>
    </dgm:pt>
    <dgm:pt modelId="{196A6F35-8ABF-49D0-A151-EFF7F4327B0E}" type="pres">
      <dgm:prSet presAssocID="{95B3FB1B-74BF-4867-A0E1-B0FA13A03D27}" presName="composite" presStyleCnt="0"/>
      <dgm:spPr/>
    </dgm:pt>
    <dgm:pt modelId="{8E9BA351-73F7-409F-B4B1-A2A655520F77}" type="pres">
      <dgm:prSet presAssocID="{95B3FB1B-74BF-4867-A0E1-B0FA13A03D27}" presName="LShape" presStyleLbl="alignNode1" presStyleIdx="8" presStyleCnt="11"/>
      <dgm:spPr/>
    </dgm:pt>
    <dgm:pt modelId="{8EEB8DCA-7F80-4F86-A4E7-2AF2E6EE681B}" type="pres">
      <dgm:prSet presAssocID="{95B3FB1B-74BF-4867-A0E1-B0FA13A03D27}" presName="ParentText" presStyleLbl="revTx" presStyleIdx="4" presStyleCnt="6">
        <dgm:presLayoutVars>
          <dgm:chMax val="0"/>
          <dgm:chPref val="0"/>
          <dgm:bulletEnabled val="1"/>
        </dgm:presLayoutVars>
      </dgm:prSet>
      <dgm:spPr/>
    </dgm:pt>
    <dgm:pt modelId="{D6B5D080-3D9C-44B4-A968-D596F89E3D8D}" type="pres">
      <dgm:prSet presAssocID="{95B3FB1B-74BF-4867-A0E1-B0FA13A03D27}" presName="Triangle" presStyleLbl="alignNode1" presStyleIdx="9" presStyleCnt="11"/>
      <dgm:spPr/>
    </dgm:pt>
    <dgm:pt modelId="{63459EDC-B85B-409B-979A-9CCD25BEB707}" type="pres">
      <dgm:prSet presAssocID="{68FAFBC6-801E-4C9D-AB94-59B51725D2E6}" presName="sibTrans" presStyleCnt="0"/>
      <dgm:spPr/>
    </dgm:pt>
    <dgm:pt modelId="{323F8B3C-9559-4DC3-96FB-8F2298F5FCC0}" type="pres">
      <dgm:prSet presAssocID="{68FAFBC6-801E-4C9D-AB94-59B51725D2E6}" presName="space" presStyleCnt="0"/>
      <dgm:spPr/>
    </dgm:pt>
    <dgm:pt modelId="{9F0307C5-BC83-4F68-BAB7-C2F6F62815A3}" type="pres">
      <dgm:prSet presAssocID="{9272EA2E-760C-42F7-ACDB-DB39D1917EF4}" presName="composite" presStyleCnt="0"/>
      <dgm:spPr/>
    </dgm:pt>
    <dgm:pt modelId="{EA7361BB-FD1E-4D1C-B46A-69A340D50DA3}" type="pres">
      <dgm:prSet presAssocID="{9272EA2E-760C-42F7-ACDB-DB39D1917EF4}" presName="LShape" presStyleLbl="alignNode1" presStyleIdx="10" presStyleCnt="11"/>
      <dgm:spPr/>
    </dgm:pt>
    <dgm:pt modelId="{042EFB01-A4C8-430A-B245-2D6DBFFD1CD1}" type="pres">
      <dgm:prSet presAssocID="{9272EA2E-760C-42F7-ACDB-DB39D1917EF4}" presName="ParentText" presStyleLbl="revTx" presStyleIdx="5" presStyleCnt="6">
        <dgm:presLayoutVars>
          <dgm:chMax val="0"/>
          <dgm:chPref val="0"/>
          <dgm:bulletEnabled val="1"/>
        </dgm:presLayoutVars>
      </dgm:prSet>
      <dgm:spPr/>
    </dgm:pt>
  </dgm:ptLst>
  <dgm:cxnLst>
    <dgm:cxn modelId="{608AF401-BE2C-42A5-9F74-7FD6AF655103}" srcId="{7CF84A45-6F85-4307-828F-807BF95F0755}" destId="{9272EA2E-760C-42F7-ACDB-DB39D1917EF4}" srcOrd="5" destOrd="0" parTransId="{307EDA71-BE40-4265-8A40-F47BE362B94C}" sibTransId="{F7107ECF-7DBA-4715-9A21-7F97F4509026}"/>
    <dgm:cxn modelId="{80D90905-D835-4663-BE5B-754D8A089860}" type="presOf" srcId="{A1CB2ACD-5EEE-4195-94E5-CB580E8F0C1A}" destId="{0B515BFE-2370-4CEE-8AF0-9D7E3B283971}" srcOrd="0" destOrd="0" presId="urn:microsoft.com/office/officeart/2009/3/layout/StepUpProcess"/>
    <dgm:cxn modelId="{8CB58D09-9EBA-4BAF-BD8C-9CA292A68789}" srcId="{7CF84A45-6F85-4307-828F-807BF95F0755}" destId="{95B3FB1B-74BF-4867-A0E1-B0FA13A03D27}" srcOrd="4" destOrd="0" parTransId="{5DCEEB49-F171-4E4F-8845-442A282A3BD6}" sibTransId="{68FAFBC6-801E-4C9D-AB94-59B51725D2E6}"/>
    <dgm:cxn modelId="{A5AEAD1F-CFCC-473D-B9CA-20E5F9826CAD}" type="presOf" srcId="{025E462D-CAE4-402E-A0BC-463D35BAC7FD}" destId="{A41CC9DE-0B78-4A7E-914B-AD5D420512E9}" srcOrd="0" destOrd="0" presId="urn:microsoft.com/office/officeart/2009/3/layout/StepUpProcess"/>
    <dgm:cxn modelId="{21E49A39-EF38-4B9C-A66B-897C26C7FE50}" type="presOf" srcId="{6D3E8CC5-D257-4BD4-B954-88AD18831D39}" destId="{818080E7-9CB9-4D06-BB81-D20B02876BED}" srcOrd="0" destOrd="0" presId="urn:microsoft.com/office/officeart/2009/3/layout/StepUpProcess"/>
    <dgm:cxn modelId="{8341CE70-6FBC-4153-98BC-ADDBD12EF703}" srcId="{7CF84A45-6F85-4307-828F-807BF95F0755}" destId="{A1CB2ACD-5EEE-4195-94E5-CB580E8F0C1A}" srcOrd="3" destOrd="0" parTransId="{20ADDAEB-13F9-41D4-8A4E-B7C6AF303D13}" sibTransId="{D288F41F-E3C0-4FF6-8BC6-3059D22C6303}"/>
    <dgm:cxn modelId="{F653229B-548C-4D92-8EBA-6DDCB6BD907C}" type="presOf" srcId="{9272EA2E-760C-42F7-ACDB-DB39D1917EF4}" destId="{042EFB01-A4C8-430A-B245-2D6DBFFD1CD1}" srcOrd="0" destOrd="0" presId="urn:microsoft.com/office/officeart/2009/3/layout/StepUpProcess"/>
    <dgm:cxn modelId="{F745E19E-6119-4FD7-A346-38479168516E}" srcId="{7CF84A45-6F85-4307-828F-807BF95F0755}" destId="{025E462D-CAE4-402E-A0BC-463D35BAC7FD}" srcOrd="1" destOrd="0" parTransId="{E686D7F7-32A0-429F-B9FA-2DBE7FDCB55D}" sibTransId="{B56101A8-68E3-435B-8E1A-CA7B08D94C05}"/>
    <dgm:cxn modelId="{39864AA8-D772-457A-BDD9-BED8DE18E07D}" srcId="{7CF84A45-6F85-4307-828F-807BF95F0755}" destId="{3D0EB99A-7CA1-4CF9-A3EF-31B130D7AE80}" srcOrd="2" destOrd="0" parTransId="{711DF4C7-BB4E-4FEB-9199-50B0BFC9FD47}" sibTransId="{C20DF9C5-18BF-4167-8098-1958867EAFCB}"/>
    <dgm:cxn modelId="{FE5571B8-DFCF-4ED6-8BB3-79C15C704FE7}" srcId="{7CF84A45-6F85-4307-828F-807BF95F0755}" destId="{6D3E8CC5-D257-4BD4-B954-88AD18831D39}" srcOrd="0" destOrd="0" parTransId="{C402D276-4196-4143-ADE6-CAAEA81D743E}" sibTransId="{D3B6916D-B8D6-4A05-9E69-28CBFCD30910}"/>
    <dgm:cxn modelId="{80AB49C4-7E1F-4EBA-959B-3B8F441E658B}" type="presOf" srcId="{95B3FB1B-74BF-4867-A0E1-B0FA13A03D27}" destId="{8EEB8DCA-7F80-4F86-A4E7-2AF2E6EE681B}" srcOrd="0" destOrd="0" presId="urn:microsoft.com/office/officeart/2009/3/layout/StepUpProcess"/>
    <dgm:cxn modelId="{35124ADA-238C-406E-B99E-F503D7A5DC7E}" type="presOf" srcId="{3D0EB99A-7CA1-4CF9-A3EF-31B130D7AE80}" destId="{0A16A887-7BFD-4A31-BC2D-97D7A543B6DF}" srcOrd="0" destOrd="0" presId="urn:microsoft.com/office/officeart/2009/3/layout/StepUpProcess"/>
    <dgm:cxn modelId="{38E3F5DC-B0E4-4BC2-901F-AADFF1D81A17}" type="presOf" srcId="{7CF84A45-6F85-4307-828F-807BF95F0755}" destId="{17366E26-D54F-43E1-AAB5-D5E920AB7D8D}" srcOrd="0" destOrd="0" presId="urn:microsoft.com/office/officeart/2009/3/layout/StepUpProcess"/>
    <dgm:cxn modelId="{4F66F705-908C-49EB-9B31-888494B812F5}" type="presParOf" srcId="{17366E26-D54F-43E1-AAB5-D5E920AB7D8D}" destId="{A36BBAE7-982E-4F6E-9EF1-B5EDA583D33A}" srcOrd="0" destOrd="0" presId="urn:microsoft.com/office/officeart/2009/3/layout/StepUpProcess"/>
    <dgm:cxn modelId="{1856113A-3CCC-4F0D-AB0B-3526B7C07D45}" type="presParOf" srcId="{A36BBAE7-982E-4F6E-9EF1-B5EDA583D33A}" destId="{7ABA5DD0-B160-4BCB-8927-447C4F773E6D}" srcOrd="0" destOrd="0" presId="urn:microsoft.com/office/officeart/2009/3/layout/StepUpProcess"/>
    <dgm:cxn modelId="{7C945EFF-21B6-4E27-BE26-8508B1AA7F07}" type="presParOf" srcId="{A36BBAE7-982E-4F6E-9EF1-B5EDA583D33A}" destId="{818080E7-9CB9-4D06-BB81-D20B02876BED}" srcOrd="1" destOrd="0" presId="urn:microsoft.com/office/officeart/2009/3/layout/StepUpProcess"/>
    <dgm:cxn modelId="{A28B24A5-C7AF-47E6-97E2-7162E32A85A5}" type="presParOf" srcId="{A36BBAE7-982E-4F6E-9EF1-B5EDA583D33A}" destId="{CA65AB69-8EA1-4DB3-8207-CC482BACEE14}" srcOrd="2" destOrd="0" presId="urn:microsoft.com/office/officeart/2009/3/layout/StepUpProcess"/>
    <dgm:cxn modelId="{D7B09623-2E3D-403D-B4DE-2B5283CAAD94}" type="presParOf" srcId="{17366E26-D54F-43E1-AAB5-D5E920AB7D8D}" destId="{57FDE56A-EDDE-4539-A73E-A69B40218607}" srcOrd="1" destOrd="0" presId="urn:microsoft.com/office/officeart/2009/3/layout/StepUpProcess"/>
    <dgm:cxn modelId="{F80A86AC-4076-46E6-810E-7B75BF7B40BC}" type="presParOf" srcId="{57FDE56A-EDDE-4539-A73E-A69B40218607}" destId="{B2CA8149-9613-4494-B944-6674B09C6E86}" srcOrd="0" destOrd="0" presId="urn:microsoft.com/office/officeart/2009/3/layout/StepUpProcess"/>
    <dgm:cxn modelId="{ED8323A2-91CD-42EF-86E0-7F4916CEE827}" type="presParOf" srcId="{17366E26-D54F-43E1-AAB5-D5E920AB7D8D}" destId="{DC60F710-33A7-48BE-8978-55DD84DDEC31}" srcOrd="2" destOrd="0" presId="urn:microsoft.com/office/officeart/2009/3/layout/StepUpProcess"/>
    <dgm:cxn modelId="{613AD456-BBB5-4126-B520-96AF8C59BEDC}" type="presParOf" srcId="{DC60F710-33A7-48BE-8978-55DD84DDEC31}" destId="{19479392-A808-4218-BC05-7103214E761B}" srcOrd="0" destOrd="0" presId="urn:microsoft.com/office/officeart/2009/3/layout/StepUpProcess"/>
    <dgm:cxn modelId="{E9F987AF-F420-4EFC-875D-F552B1ECDDB7}" type="presParOf" srcId="{DC60F710-33A7-48BE-8978-55DD84DDEC31}" destId="{A41CC9DE-0B78-4A7E-914B-AD5D420512E9}" srcOrd="1" destOrd="0" presId="urn:microsoft.com/office/officeart/2009/3/layout/StepUpProcess"/>
    <dgm:cxn modelId="{7A990E9D-FE8B-4AD5-9535-906AFCFEC5FE}" type="presParOf" srcId="{DC60F710-33A7-48BE-8978-55DD84DDEC31}" destId="{BE4B9422-992B-4A40-80F6-2B7D3B5350B9}" srcOrd="2" destOrd="0" presId="urn:microsoft.com/office/officeart/2009/3/layout/StepUpProcess"/>
    <dgm:cxn modelId="{F984C2C1-C641-4072-9D69-A62860611A05}" type="presParOf" srcId="{17366E26-D54F-43E1-AAB5-D5E920AB7D8D}" destId="{E4F201FE-82AA-4DEA-A45B-838BB04430CE}" srcOrd="3" destOrd="0" presId="urn:microsoft.com/office/officeart/2009/3/layout/StepUpProcess"/>
    <dgm:cxn modelId="{B68BE75C-A150-4D20-BDA6-557B5B6380D2}" type="presParOf" srcId="{E4F201FE-82AA-4DEA-A45B-838BB04430CE}" destId="{E3EBD174-1AC0-4985-AC2E-B876A6BD413F}" srcOrd="0" destOrd="0" presId="urn:microsoft.com/office/officeart/2009/3/layout/StepUpProcess"/>
    <dgm:cxn modelId="{5CE428A7-F540-454C-BACA-A3C0D481556E}" type="presParOf" srcId="{17366E26-D54F-43E1-AAB5-D5E920AB7D8D}" destId="{986BDD70-530F-4F43-B7F1-1CEAAD602A3A}" srcOrd="4" destOrd="0" presId="urn:microsoft.com/office/officeart/2009/3/layout/StepUpProcess"/>
    <dgm:cxn modelId="{F11991C3-5E42-4F0D-8E87-2B9C2CABBAE1}" type="presParOf" srcId="{986BDD70-530F-4F43-B7F1-1CEAAD602A3A}" destId="{A3FF11FF-1532-4EE2-80A1-730EDE62CFA0}" srcOrd="0" destOrd="0" presId="urn:microsoft.com/office/officeart/2009/3/layout/StepUpProcess"/>
    <dgm:cxn modelId="{75CC3B75-5E38-4D73-8C21-FE76FFA399EA}" type="presParOf" srcId="{986BDD70-530F-4F43-B7F1-1CEAAD602A3A}" destId="{0A16A887-7BFD-4A31-BC2D-97D7A543B6DF}" srcOrd="1" destOrd="0" presId="urn:microsoft.com/office/officeart/2009/3/layout/StepUpProcess"/>
    <dgm:cxn modelId="{F377F622-160F-4D8C-8A18-5E0DC680BC8E}" type="presParOf" srcId="{986BDD70-530F-4F43-B7F1-1CEAAD602A3A}" destId="{A321739A-1D1B-4D3E-95E0-2E3122B0E43A}" srcOrd="2" destOrd="0" presId="urn:microsoft.com/office/officeart/2009/3/layout/StepUpProcess"/>
    <dgm:cxn modelId="{31D29E24-E9DB-4B16-9298-C9E2C095BBEE}" type="presParOf" srcId="{17366E26-D54F-43E1-AAB5-D5E920AB7D8D}" destId="{18DEDB7B-5336-49D4-AD0A-4715522628A9}" srcOrd="5" destOrd="0" presId="urn:microsoft.com/office/officeart/2009/3/layout/StepUpProcess"/>
    <dgm:cxn modelId="{60AC63D5-540C-4665-AE99-B4173D90B491}" type="presParOf" srcId="{18DEDB7B-5336-49D4-AD0A-4715522628A9}" destId="{7A688923-8E37-4DA8-9518-87FF00B3B740}" srcOrd="0" destOrd="0" presId="urn:microsoft.com/office/officeart/2009/3/layout/StepUpProcess"/>
    <dgm:cxn modelId="{8FCE8207-FC1F-43F9-9DDA-C77A0E29CA37}" type="presParOf" srcId="{17366E26-D54F-43E1-AAB5-D5E920AB7D8D}" destId="{4BFBF6B0-AFBF-4B69-B3B3-8FD5D5245D77}" srcOrd="6" destOrd="0" presId="urn:microsoft.com/office/officeart/2009/3/layout/StepUpProcess"/>
    <dgm:cxn modelId="{659E2894-9AA7-43B1-8C39-064514E55B2C}" type="presParOf" srcId="{4BFBF6B0-AFBF-4B69-B3B3-8FD5D5245D77}" destId="{3F100B55-7F85-4B0D-AFC9-74ED14FD5B46}" srcOrd="0" destOrd="0" presId="urn:microsoft.com/office/officeart/2009/3/layout/StepUpProcess"/>
    <dgm:cxn modelId="{0982B170-9527-4332-8046-BEB930283F39}" type="presParOf" srcId="{4BFBF6B0-AFBF-4B69-B3B3-8FD5D5245D77}" destId="{0B515BFE-2370-4CEE-8AF0-9D7E3B283971}" srcOrd="1" destOrd="0" presId="urn:microsoft.com/office/officeart/2009/3/layout/StepUpProcess"/>
    <dgm:cxn modelId="{FD62731D-41EB-4601-88A2-81A2032314A3}" type="presParOf" srcId="{4BFBF6B0-AFBF-4B69-B3B3-8FD5D5245D77}" destId="{88BFB8A1-75E6-452C-8DA7-2FE5A74AD386}" srcOrd="2" destOrd="0" presId="urn:microsoft.com/office/officeart/2009/3/layout/StepUpProcess"/>
    <dgm:cxn modelId="{CCA8D848-BC2C-4AF4-80ED-BC210EFB6455}" type="presParOf" srcId="{17366E26-D54F-43E1-AAB5-D5E920AB7D8D}" destId="{9AE966F4-A066-4B81-B24B-633661C1F25C}" srcOrd="7" destOrd="0" presId="urn:microsoft.com/office/officeart/2009/3/layout/StepUpProcess"/>
    <dgm:cxn modelId="{503630B6-676F-47C7-836F-16A8E38C4EC1}" type="presParOf" srcId="{9AE966F4-A066-4B81-B24B-633661C1F25C}" destId="{251A6A54-5391-480D-8BEE-DF592CC36887}" srcOrd="0" destOrd="0" presId="urn:microsoft.com/office/officeart/2009/3/layout/StepUpProcess"/>
    <dgm:cxn modelId="{5F92014D-84B0-404F-B98B-65D6146B7973}" type="presParOf" srcId="{17366E26-D54F-43E1-AAB5-D5E920AB7D8D}" destId="{196A6F35-8ABF-49D0-A151-EFF7F4327B0E}" srcOrd="8" destOrd="0" presId="urn:microsoft.com/office/officeart/2009/3/layout/StepUpProcess"/>
    <dgm:cxn modelId="{CC54626A-0F01-4BB3-B7AC-A92BCC8A84A5}" type="presParOf" srcId="{196A6F35-8ABF-49D0-A151-EFF7F4327B0E}" destId="{8E9BA351-73F7-409F-B4B1-A2A655520F77}" srcOrd="0" destOrd="0" presId="urn:microsoft.com/office/officeart/2009/3/layout/StepUpProcess"/>
    <dgm:cxn modelId="{B5826D03-0B69-44CA-8A21-BB5F58DBF698}" type="presParOf" srcId="{196A6F35-8ABF-49D0-A151-EFF7F4327B0E}" destId="{8EEB8DCA-7F80-4F86-A4E7-2AF2E6EE681B}" srcOrd="1" destOrd="0" presId="urn:microsoft.com/office/officeart/2009/3/layout/StepUpProcess"/>
    <dgm:cxn modelId="{57005050-CE9A-4A72-9E34-789C625471D8}" type="presParOf" srcId="{196A6F35-8ABF-49D0-A151-EFF7F4327B0E}" destId="{D6B5D080-3D9C-44B4-A968-D596F89E3D8D}" srcOrd="2" destOrd="0" presId="urn:microsoft.com/office/officeart/2009/3/layout/StepUpProcess"/>
    <dgm:cxn modelId="{A8E557C8-9F0F-4D16-BFBE-B23FE6AD9F55}" type="presParOf" srcId="{17366E26-D54F-43E1-AAB5-D5E920AB7D8D}" destId="{63459EDC-B85B-409B-979A-9CCD25BEB707}" srcOrd="9" destOrd="0" presId="urn:microsoft.com/office/officeart/2009/3/layout/StepUpProcess"/>
    <dgm:cxn modelId="{DDECD218-FE0D-41F5-A220-263E2C5EA943}" type="presParOf" srcId="{63459EDC-B85B-409B-979A-9CCD25BEB707}" destId="{323F8B3C-9559-4DC3-96FB-8F2298F5FCC0}" srcOrd="0" destOrd="0" presId="urn:microsoft.com/office/officeart/2009/3/layout/StepUpProcess"/>
    <dgm:cxn modelId="{2B5F891A-F31D-4C0A-A82B-899C979806FF}" type="presParOf" srcId="{17366E26-D54F-43E1-AAB5-D5E920AB7D8D}" destId="{9F0307C5-BC83-4F68-BAB7-C2F6F62815A3}" srcOrd="10" destOrd="0" presId="urn:microsoft.com/office/officeart/2009/3/layout/StepUpProcess"/>
    <dgm:cxn modelId="{2174140C-9BB6-4251-99DA-8E2640F26DCD}" type="presParOf" srcId="{9F0307C5-BC83-4F68-BAB7-C2F6F62815A3}" destId="{EA7361BB-FD1E-4D1C-B46A-69A340D50DA3}" srcOrd="0" destOrd="0" presId="urn:microsoft.com/office/officeart/2009/3/layout/StepUpProcess"/>
    <dgm:cxn modelId="{135D8AC1-DF28-4689-9247-EBF5D537C53F}" type="presParOf" srcId="{9F0307C5-BC83-4F68-BAB7-C2F6F62815A3}" destId="{042EFB01-A4C8-430A-B245-2D6DBFFD1CD1}" srcOrd="1" destOrd="0" presId="urn:microsoft.com/office/officeart/2009/3/layout/StepUpProcess"/>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ACD70CE6-CED8-4A43-B40C-93FA893DF0F7}">
      <dgm:prSet custT="1"/>
      <dgm:spPr>
        <a:solidFill>
          <a:srgbClr val="6E9692"/>
        </a:solidFill>
      </dgm:spPr>
      <dgm:t>
        <a:bodyPr/>
        <a:lstStyle/>
        <a:p>
          <a:r>
            <a:rPr kumimoji="0" lang="fr-FR" sz="1400" b="1" i="0" u="none" strike="noStrike" cap="none" spc="0" normalizeH="0" baseline="0" noProof="0">
              <a:ln>
                <a:noFill/>
              </a:ln>
              <a:solidFill>
                <a:prstClr val="white"/>
              </a:solidFill>
              <a:effectLst/>
              <a:uLnTx/>
              <a:uFillTx/>
              <a:latin typeface="Calibri"/>
              <a:ea typeface="+mn-ea"/>
              <a:cs typeface="+mn-cs"/>
            </a:rPr>
            <a:t>3.1 Cyber Security Leadership and </a:t>
          </a:r>
          <a:r>
            <a:rPr kumimoji="0" lang="fr-FR" sz="1400" b="1" i="0" u="none" strike="noStrike" cap="none" spc="0" normalizeH="0" baseline="0" noProof="0" err="1">
              <a:ln>
                <a:noFill/>
              </a:ln>
              <a:solidFill>
                <a:prstClr val="white"/>
              </a:solidFill>
              <a:effectLst/>
              <a:uLnTx/>
              <a:uFillTx/>
              <a:latin typeface="Calibri"/>
              <a:ea typeface="+mn-ea"/>
              <a:cs typeface="+mn-cs"/>
            </a:rPr>
            <a:t>Governance</a:t>
          </a:r>
          <a:endParaRPr lang="en-GB" sz="14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04061FF3-F16C-4DBF-801C-B2AB05204B6B}" type="sibTrans" cxnId="{FCD389B0-AC96-4644-AB78-A2D720A3F242}">
      <dgm:prSet/>
      <dgm:spPr/>
      <dgm:t>
        <a:bodyPr/>
        <a:lstStyle/>
        <a:p>
          <a:endParaRPr lang="en-GB" sz="1200">
            <a:solidFill>
              <a:schemeClr val="tx1"/>
            </a:solidFill>
          </a:endParaRPr>
        </a:p>
      </dgm:t>
    </dgm:pt>
    <dgm:pt modelId="{55C61814-B326-4C5E-9E63-EB33FBD6A5AD}">
      <dgm:prSet custT="1"/>
      <dgm:spPr>
        <a:solidFill>
          <a:srgbClr val="6E9692">
            <a:alpha val="29804"/>
          </a:srgbClr>
        </a:solidFill>
        <a:ln>
          <a:noFill/>
        </a:ln>
      </dgm:spPr>
      <dgm:t>
        <a:bodyPr/>
        <a:lstStyle/>
        <a:p>
          <a:r>
            <a:rPr lang="en-GB" sz="1200">
              <a:solidFill>
                <a:schemeClr val="tx1"/>
              </a:solidFill>
            </a:rPr>
            <a:t>3.1.2 Cyber Security Strategy</a:t>
          </a:r>
        </a:p>
      </dgm:t>
    </dgm:pt>
    <dgm:pt modelId="{F853DE77-67C4-42F3-B2E8-F7A900A4201D}" type="parTrans" cxnId="{F2288147-DC6C-438A-9819-4DCC1DB1F8C4}">
      <dgm:prSet/>
      <dgm:spPr/>
      <dgm:t>
        <a:bodyPr/>
        <a:lstStyle/>
        <a:p>
          <a:endParaRPr lang="en-GB" sz="1200"/>
        </a:p>
      </dgm:t>
    </dgm:pt>
    <dgm:pt modelId="{7E3BE03B-BE28-43AC-8F54-79E9F2C29787}" type="sibTrans" cxnId="{F2288147-DC6C-438A-9819-4DCC1DB1F8C4}">
      <dgm:prSet/>
      <dgm:spPr/>
      <dgm:t>
        <a:bodyPr/>
        <a:lstStyle/>
        <a:p>
          <a:endParaRPr lang="en-GB" sz="1200"/>
        </a:p>
      </dgm:t>
    </dgm:pt>
    <dgm:pt modelId="{2891BFE9-EBD7-458E-B15E-2DD66CAB2F23}">
      <dgm:prSet custT="1"/>
      <dgm:spPr>
        <a:solidFill>
          <a:srgbClr val="6E9692">
            <a:alpha val="29804"/>
          </a:srgbClr>
        </a:solidFill>
        <a:ln>
          <a:noFill/>
        </a:ln>
      </dgm:spPr>
      <dgm:t>
        <a:bodyPr/>
        <a:lstStyle/>
        <a:p>
          <a:r>
            <a:rPr lang="en-GB" sz="1200">
              <a:solidFill>
                <a:schemeClr val="tx1"/>
              </a:solidFill>
            </a:rPr>
            <a:t>3.1.3 Cyber Security Policy</a:t>
          </a:r>
        </a:p>
      </dgm:t>
    </dgm:pt>
    <dgm:pt modelId="{93FB6BD0-39B7-4A3E-9EC9-F2E5388C02CB}" type="parTrans" cxnId="{A1D1DA74-98EB-42E1-9BC0-898AF47330B0}">
      <dgm:prSet/>
      <dgm:spPr/>
      <dgm:t>
        <a:bodyPr/>
        <a:lstStyle/>
        <a:p>
          <a:endParaRPr lang="en-GB" sz="1200"/>
        </a:p>
      </dgm:t>
    </dgm:pt>
    <dgm:pt modelId="{6649B898-CBC8-448B-A704-E6049399692D}" type="sibTrans" cxnId="{A1D1DA74-98EB-42E1-9BC0-898AF47330B0}">
      <dgm:prSet/>
      <dgm:spPr/>
      <dgm:t>
        <a:bodyPr/>
        <a:lstStyle/>
        <a:p>
          <a:endParaRPr lang="en-GB" sz="1200"/>
        </a:p>
      </dgm:t>
    </dgm:pt>
    <dgm:pt modelId="{A636FFB3-E2B7-4995-89B8-D1BCD309B532}">
      <dgm:prSet custT="1"/>
      <dgm:spPr>
        <a:solidFill>
          <a:srgbClr val="6E9692">
            <a:alpha val="29804"/>
          </a:srgbClr>
        </a:solidFill>
        <a:ln>
          <a:noFill/>
        </a:ln>
      </dgm:spPr>
      <dgm:t>
        <a:bodyPr/>
        <a:lstStyle/>
        <a:p>
          <a:r>
            <a:rPr lang="en-US" sz="1200">
              <a:solidFill>
                <a:schemeClr val="tx1"/>
              </a:solidFill>
            </a:rPr>
            <a:t>3.1.4 Cyber Security Roles and Responsibilities</a:t>
          </a:r>
          <a:endParaRPr lang="en-GB" sz="1200">
            <a:solidFill>
              <a:schemeClr val="tx1"/>
            </a:solidFill>
          </a:endParaRPr>
        </a:p>
      </dgm:t>
    </dgm:pt>
    <dgm:pt modelId="{65ADF058-A558-416E-9310-F4F321FA504E}" type="parTrans" cxnId="{EC9D0ED7-D2C5-4AEC-B364-D4DB58D68584}">
      <dgm:prSet/>
      <dgm:spPr/>
      <dgm:t>
        <a:bodyPr/>
        <a:lstStyle/>
        <a:p>
          <a:endParaRPr lang="en-GB" sz="1200"/>
        </a:p>
      </dgm:t>
    </dgm:pt>
    <dgm:pt modelId="{B226EAAB-A8EB-408B-A049-91E34E2C13DC}" type="sibTrans" cxnId="{EC9D0ED7-D2C5-4AEC-B364-D4DB58D68584}">
      <dgm:prSet/>
      <dgm:spPr/>
      <dgm:t>
        <a:bodyPr/>
        <a:lstStyle/>
        <a:p>
          <a:endParaRPr lang="en-GB" sz="1200"/>
        </a:p>
      </dgm:t>
    </dgm:pt>
    <dgm:pt modelId="{BBC204D4-1BDA-49D1-930E-D1CBCF670B7F}">
      <dgm:prSet custT="1"/>
      <dgm:spPr>
        <a:solidFill>
          <a:srgbClr val="6E9692">
            <a:alpha val="29804"/>
          </a:srgbClr>
        </a:solidFill>
        <a:ln>
          <a:noFill/>
        </a:ln>
      </dgm:spPr>
      <dgm:t>
        <a:bodyPr/>
        <a:lstStyle/>
        <a:p>
          <a:r>
            <a:rPr lang="en-US" sz="1200">
              <a:solidFill>
                <a:schemeClr val="tx1"/>
              </a:solidFill>
            </a:rPr>
            <a:t>3.1.5 Cyber Security in Project Managemen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BF9C1DDF-666C-46BD-A18F-20DD763637E4}">
      <dgm:prSet/>
      <dgm:spPr>
        <a:solidFill>
          <a:srgbClr val="6E9692">
            <a:alpha val="29804"/>
          </a:srgbClr>
        </a:solidFill>
        <a:ln>
          <a:noFill/>
        </a:ln>
      </dgm:spPr>
      <dgm:t>
        <a:bodyPr/>
        <a:lstStyle/>
        <a:p>
          <a:r>
            <a:rPr lang="en-GB">
              <a:solidFill>
                <a:schemeClr val="tx1"/>
              </a:solidFill>
            </a:rPr>
            <a:t>3.1.6 Cyber Security Awareness</a:t>
          </a:r>
        </a:p>
      </dgm:t>
    </dgm:pt>
    <dgm:pt modelId="{5199A633-A660-47F8-9197-DB133734F9BB}" type="parTrans" cxnId="{59EE62AA-5597-4D83-888B-1F1401CECDA4}">
      <dgm:prSet/>
      <dgm:spPr/>
      <dgm:t>
        <a:bodyPr/>
        <a:lstStyle/>
        <a:p>
          <a:endParaRPr lang="en-GB"/>
        </a:p>
      </dgm:t>
    </dgm:pt>
    <dgm:pt modelId="{79633269-9E4C-4F64-89DE-98A3E766FD32}" type="sibTrans" cxnId="{59EE62AA-5597-4D83-888B-1F1401CECDA4}">
      <dgm:prSet/>
      <dgm:spPr/>
      <dgm:t>
        <a:bodyPr/>
        <a:lstStyle/>
        <a:p>
          <a:endParaRPr lang="en-GB"/>
        </a:p>
      </dgm:t>
    </dgm:pt>
    <dgm:pt modelId="{1A7F8511-003B-47F3-971D-F7BA68628E1F}">
      <dgm:prSet/>
      <dgm:spPr>
        <a:solidFill>
          <a:srgbClr val="6E9692">
            <a:alpha val="29804"/>
          </a:srgbClr>
        </a:solidFill>
        <a:ln>
          <a:noFill/>
        </a:ln>
      </dgm:spPr>
      <dgm:t>
        <a:bodyPr/>
        <a:lstStyle/>
        <a:p>
          <a:r>
            <a:rPr lang="en-GB">
              <a:solidFill>
                <a:schemeClr val="tx1"/>
              </a:solidFill>
            </a:rPr>
            <a:t>3.1.7 Cyber Security Training</a:t>
          </a:r>
        </a:p>
      </dgm:t>
    </dgm:pt>
    <dgm:pt modelId="{78EC0C9F-EFCE-41AB-8F75-B53D19286903}" type="parTrans" cxnId="{F5851086-B858-42AC-96D8-393FB25D4114}">
      <dgm:prSet/>
      <dgm:spPr/>
      <dgm:t>
        <a:bodyPr/>
        <a:lstStyle/>
        <a:p>
          <a:endParaRPr lang="en-GB"/>
        </a:p>
      </dgm:t>
    </dgm:pt>
    <dgm:pt modelId="{F2FCFD2C-6C43-42C9-B04A-98B640713C93}" type="sibTrans" cxnId="{F5851086-B858-42AC-96D8-393FB25D4114}">
      <dgm:prSet/>
      <dgm:spPr/>
      <dgm:t>
        <a:bodyPr/>
        <a:lstStyle/>
        <a:p>
          <a:endParaRPr lang="en-GB"/>
        </a:p>
      </dgm:t>
    </dgm:pt>
    <dgm:pt modelId="{C806884C-CBCD-4CE8-A4C6-25FD1AAF1667}">
      <dgm:prSet custT="1"/>
      <dgm:spPr>
        <a:solidFill>
          <a:srgbClr val="6E9692">
            <a:alpha val="29804"/>
          </a:srgbClr>
        </a:solidFill>
        <a:ln>
          <a:noFill/>
        </a:ln>
      </dgm:spPr>
      <dgm:t>
        <a:bodyPr/>
        <a:lstStyle/>
        <a:p>
          <a:r>
            <a:rPr lang="en-GB" sz="1200">
              <a:solidFill>
                <a:schemeClr val="tx1"/>
              </a:solidFill>
            </a:rPr>
            <a:t>3.1.1 Cyber Security Governance</a:t>
          </a: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45652"/>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7"/>
      <dgm:spPr/>
    </dgm:pt>
    <dgm:pt modelId="{2E5437AB-B759-40C3-9F13-A013EA3F4F8A}" type="pres">
      <dgm:prSet presAssocID="{C806884C-CBCD-4CE8-A4C6-25FD1AAF1667}" presName="childText" presStyleLbl="bgAcc1" presStyleIdx="0" presStyleCnt="7" custScaleX="310706">
        <dgm:presLayoutVars>
          <dgm:bulletEnabled val="1"/>
        </dgm:presLayoutVars>
      </dgm:prSet>
      <dgm:spPr/>
    </dgm:pt>
    <dgm:pt modelId="{91D3B5D1-FAD0-4492-9EDB-F1D4FDE1B420}" type="pres">
      <dgm:prSet presAssocID="{F853DE77-67C4-42F3-B2E8-F7A900A4201D}" presName="Name13" presStyleLbl="parChTrans1D2" presStyleIdx="1" presStyleCnt="7"/>
      <dgm:spPr/>
    </dgm:pt>
    <dgm:pt modelId="{E2F0E69F-01C2-45AA-ADDD-E56A602EA7A1}" type="pres">
      <dgm:prSet presAssocID="{55C61814-B326-4C5E-9E63-EB33FBD6A5AD}" presName="childText" presStyleLbl="bgAcc1" presStyleIdx="1" presStyleCnt="7" custScaleX="310706">
        <dgm:presLayoutVars>
          <dgm:bulletEnabled val="1"/>
        </dgm:presLayoutVars>
      </dgm:prSet>
      <dgm:spPr/>
    </dgm:pt>
    <dgm:pt modelId="{3251501F-9DA6-4EB2-9025-506F45A93DFD}" type="pres">
      <dgm:prSet presAssocID="{93FB6BD0-39B7-4A3E-9EC9-F2E5388C02CB}" presName="Name13" presStyleLbl="parChTrans1D2" presStyleIdx="2" presStyleCnt="7"/>
      <dgm:spPr/>
    </dgm:pt>
    <dgm:pt modelId="{12919AB8-2170-4B6F-9551-6E252CD8CE44}" type="pres">
      <dgm:prSet presAssocID="{2891BFE9-EBD7-458E-B15E-2DD66CAB2F23}" presName="childText" presStyleLbl="bgAcc1" presStyleIdx="2" presStyleCnt="7" custScaleX="310706">
        <dgm:presLayoutVars>
          <dgm:bulletEnabled val="1"/>
        </dgm:presLayoutVars>
      </dgm:prSet>
      <dgm:spPr/>
    </dgm:pt>
    <dgm:pt modelId="{55E2CD92-AD9E-40C8-A5BC-1A47AF157B0C}" type="pres">
      <dgm:prSet presAssocID="{65ADF058-A558-416E-9310-F4F321FA504E}" presName="Name13" presStyleLbl="parChTrans1D2" presStyleIdx="3" presStyleCnt="7"/>
      <dgm:spPr/>
    </dgm:pt>
    <dgm:pt modelId="{766A0D68-1607-41F0-A267-C796415DBEE3}" type="pres">
      <dgm:prSet presAssocID="{A636FFB3-E2B7-4995-89B8-D1BCD309B532}" presName="childText" presStyleLbl="bgAcc1" presStyleIdx="3" presStyleCnt="7" custScaleX="310706">
        <dgm:presLayoutVars>
          <dgm:bulletEnabled val="1"/>
        </dgm:presLayoutVars>
      </dgm:prSet>
      <dgm:spPr/>
    </dgm:pt>
    <dgm:pt modelId="{187FC86E-8BAF-4D13-93CC-7BCD000E8A83}" type="pres">
      <dgm:prSet presAssocID="{2911194B-1CDC-46CE-8844-E3B0F6A7153F}" presName="Name13" presStyleLbl="parChTrans1D2" presStyleIdx="4" presStyleCnt="7"/>
      <dgm:spPr/>
    </dgm:pt>
    <dgm:pt modelId="{DA2AE177-2927-4FD2-90CE-DED2686D2A2E}" type="pres">
      <dgm:prSet presAssocID="{BBC204D4-1BDA-49D1-930E-D1CBCF670B7F}" presName="childText" presStyleLbl="bgAcc1" presStyleIdx="4" presStyleCnt="7" custScaleX="310706">
        <dgm:presLayoutVars>
          <dgm:bulletEnabled val="1"/>
        </dgm:presLayoutVars>
      </dgm:prSet>
      <dgm:spPr/>
    </dgm:pt>
    <dgm:pt modelId="{CB0950A0-E07E-409A-B414-19688D1AE367}" type="pres">
      <dgm:prSet presAssocID="{5199A633-A660-47F8-9197-DB133734F9BB}" presName="Name13" presStyleLbl="parChTrans1D2" presStyleIdx="5" presStyleCnt="7"/>
      <dgm:spPr/>
    </dgm:pt>
    <dgm:pt modelId="{DA71EA43-23A4-455C-A454-915B5C5A986F}" type="pres">
      <dgm:prSet presAssocID="{BF9C1DDF-666C-46BD-A18F-20DD763637E4}" presName="childText" presStyleLbl="bgAcc1" presStyleIdx="5" presStyleCnt="7" custScaleX="310706">
        <dgm:presLayoutVars>
          <dgm:bulletEnabled val="1"/>
        </dgm:presLayoutVars>
      </dgm:prSet>
      <dgm:spPr/>
    </dgm:pt>
    <dgm:pt modelId="{F488420A-84AF-41A8-984C-828B62833792}" type="pres">
      <dgm:prSet presAssocID="{78EC0C9F-EFCE-41AB-8F75-B53D19286903}" presName="Name13" presStyleLbl="parChTrans1D2" presStyleIdx="6" presStyleCnt="7"/>
      <dgm:spPr/>
    </dgm:pt>
    <dgm:pt modelId="{43DBFBCB-8163-469A-80C1-D07B7F258C80}" type="pres">
      <dgm:prSet presAssocID="{1A7F8511-003B-47F3-971D-F7BA68628E1F}" presName="childText" presStyleLbl="bgAcc1" presStyleIdx="6" presStyleCnt="7" custScaleX="310706">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FF02BA27-8420-42A2-8FEB-440B427EA338}" type="presOf" srcId="{A636FFB3-E2B7-4995-89B8-D1BCD309B532}" destId="{766A0D68-1607-41F0-A267-C796415DBEE3}" srcOrd="0" destOrd="0" presId="urn:microsoft.com/office/officeart/2005/8/layout/hierarchy3"/>
    <dgm:cxn modelId="{541FF233-472A-4066-8A9B-DA8D8EC77CA6}" type="presOf" srcId="{78EC0C9F-EFCE-41AB-8F75-B53D19286903}" destId="{F488420A-84AF-41A8-984C-828B62833792}" srcOrd="0" destOrd="0" presId="urn:microsoft.com/office/officeart/2005/8/layout/hierarchy3"/>
    <dgm:cxn modelId="{FF64943C-8F42-43B3-B291-FC4FE0770A18}" type="presOf" srcId="{55C61814-B326-4C5E-9E63-EB33FBD6A5AD}" destId="{E2F0E69F-01C2-45AA-ADDD-E56A602EA7A1}" srcOrd="0" destOrd="0" presId="urn:microsoft.com/office/officeart/2005/8/layout/hierarchy3"/>
    <dgm:cxn modelId="{C3EEEB43-DEF5-4DFD-B013-F8970162E49B}" type="presOf" srcId="{93FB6BD0-39B7-4A3E-9EC9-F2E5388C02CB}" destId="{3251501F-9DA6-4EB2-9025-506F45A93DFD}" srcOrd="0" destOrd="0" presId="urn:microsoft.com/office/officeart/2005/8/layout/hierarchy3"/>
    <dgm:cxn modelId="{F2288147-DC6C-438A-9819-4DCC1DB1F8C4}" srcId="{ACD70CE6-CED8-4A43-B40C-93FA893DF0F7}" destId="{55C61814-B326-4C5E-9E63-EB33FBD6A5AD}" srcOrd="1" destOrd="0" parTransId="{F853DE77-67C4-42F3-B2E8-F7A900A4201D}" sibTransId="{7E3BE03B-BE28-43AC-8F54-79E9F2C29787}"/>
    <dgm:cxn modelId="{245CB147-9D2E-48EE-AA31-586DD06D1C91}" type="presOf" srcId="{C13D4231-302B-48B0-97C7-E9C939E27344}" destId="{21BBA50E-DC8E-4CBB-89B9-5B8869409D70}" srcOrd="0" destOrd="0" presId="urn:microsoft.com/office/officeart/2005/8/layout/hierarchy3"/>
    <dgm:cxn modelId="{66D6576E-2393-49FD-BE66-97E566724A46}" type="presOf" srcId="{65ADF058-A558-416E-9310-F4F321FA504E}" destId="{55E2CD92-AD9E-40C8-A5BC-1A47AF157B0C}" srcOrd="0" destOrd="0" presId="urn:microsoft.com/office/officeart/2005/8/layout/hierarchy3"/>
    <dgm:cxn modelId="{A1D1DA74-98EB-42E1-9BC0-898AF47330B0}" srcId="{ACD70CE6-CED8-4A43-B40C-93FA893DF0F7}" destId="{2891BFE9-EBD7-458E-B15E-2DD66CAB2F23}" srcOrd="2" destOrd="0" parTransId="{93FB6BD0-39B7-4A3E-9EC9-F2E5388C02CB}" sibTransId="{6649B898-CBC8-448B-A704-E6049399692D}"/>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F5851086-B858-42AC-96D8-393FB25D4114}" srcId="{ACD70CE6-CED8-4A43-B40C-93FA893DF0F7}" destId="{1A7F8511-003B-47F3-971D-F7BA68628E1F}" srcOrd="6" destOrd="0" parTransId="{78EC0C9F-EFCE-41AB-8F75-B53D19286903}" sibTransId="{F2FCFD2C-6C43-42C9-B04A-98B640713C93}"/>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08B4EF9B-E15C-425F-B6FD-EA5EA2C78F6C}" type="presOf" srcId="{5199A633-A660-47F8-9197-DB133734F9BB}" destId="{CB0950A0-E07E-409A-B414-19688D1AE367}" srcOrd="0" destOrd="0" presId="urn:microsoft.com/office/officeart/2005/8/layout/hierarchy3"/>
    <dgm:cxn modelId="{971D22A6-2FA9-45FF-9A7D-9EB1150B90BE}" type="presOf" srcId="{BBC204D4-1BDA-49D1-930E-D1CBCF670B7F}" destId="{DA2AE177-2927-4FD2-90CE-DED2686D2A2E}" srcOrd="0" destOrd="0" presId="urn:microsoft.com/office/officeart/2005/8/layout/hierarchy3"/>
    <dgm:cxn modelId="{59EE62AA-5597-4D83-888B-1F1401CECDA4}" srcId="{ACD70CE6-CED8-4A43-B40C-93FA893DF0F7}" destId="{BF9C1DDF-666C-46BD-A18F-20DD763637E4}" srcOrd="5" destOrd="0" parTransId="{5199A633-A660-47F8-9197-DB133734F9BB}" sibTransId="{79633269-9E4C-4F64-89DE-98A3E766FD32}"/>
    <dgm:cxn modelId="{FCD389B0-AC96-4644-AB78-A2D720A3F242}" srcId="{1BD78650-2358-4AFA-9F0E-97678F2776BA}" destId="{ACD70CE6-CED8-4A43-B40C-93FA893DF0F7}" srcOrd="0" destOrd="0" parTransId="{3E51B8E0-9310-4DBF-938B-6FE435A70273}" sibTransId="{04061FF3-F16C-4DBF-801C-B2AB05204B6B}"/>
    <dgm:cxn modelId="{D46F87BD-18BA-41EE-B1A7-70E5460F3DA9}" type="presOf" srcId="{2891BFE9-EBD7-458E-B15E-2DD66CAB2F23}" destId="{12919AB8-2170-4B6F-9551-6E252CD8CE44}" srcOrd="0" destOrd="0" presId="urn:microsoft.com/office/officeart/2005/8/layout/hierarchy3"/>
    <dgm:cxn modelId="{576C94C7-25CE-416D-A629-4C3E386F7D48}" type="presOf" srcId="{F853DE77-67C4-42F3-B2E8-F7A900A4201D}" destId="{91D3B5D1-FAD0-4492-9EDB-F1D4FDE1B420}" srcOrd="0" destOrd="0" presId="urn:microsoft.com/office/officeart/2005/8/layout/hierarchy3"/>
    <dgm:cxn modelId="{D484CFCB-F47B-4DC5-8D7B-E61DE0D7C347}" type="presOf" srcId="{BF9C1DDF-666C-46BD-A18F-20DD763637E4}" destId="{DA71EA43-23A4-455C-A454-915B5C5A986F}" srcOrd="0" destOrd="0" presId="urn:microsoft.com/office/officeart/2005/8/layout/hierarchy3"/>
    <dgm:cxn modelId="{EC9D0ED7-D2C5-4AEC-B364-D4DB58D68584}" srcId="{ACD70CE6-CED8-4A43-B40C-93FA893DF0F7}" destId="{A636FFB3-E2B7-4995-89B8-D1BCD309B532}" srcOrd="3" destOrd="0" parTransId="{65ADF058-A558-416E-9310-F4F321FA504E}" sibTransId="{B226EAAB-A8EB-408B-A049-91E34E2C13DC}"/>
    <dgm:cxn modelId="{965A9DE2-E25A-4D11-B42A-5C997B00C2C3}" type="presOf" srcId="{2911194B-1CDC-46CE-8844-E3B0F6A7153F}" destId="{187FC86E-8BAF-4D13-93CC-7BCD000E8A83}" srcOrd="0" destOrd="0" presId="urn:microsoft.com/office/officeart/2005/8/layout/hierarchy3"/>
    <dgm:cxn modelId="{C24367E9-AE01-4996-97E6-65C2B4AD35F8}" type="presOf" srcId="{1A7F8511-003B-47F3-971D-F7BA68628E1F}" destId="{43DBFBCB-8163-469A-80C1-D07B7F258C80}"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7C181CD3-8E67-4F74-8100-A066941CAEBB}" type="presParOf" srcId="{8304CACF-20B4-4E75-8A45-F43652792B03}" destId="{91D3B5D1-FAD0-4492-9EDB-F1D4FDE1B420}" srcOrd="2" destOrd="0" presId="urn:microsoft.com/office/officeart/2005/8/layout/hierarchy3"/>
    <dgm:cxn modelId="{1E1D104C-3209-4824-ACF6-8CD8D80902EB}" type="presParOf" srcId="{8304CACF-20B4-4E75-8A45-F43652792B03}" destId="{E2F0E69F-01C2-45AA-ADDD-E56A602EA7A1}" srcOrd="3" destOrd="0" presId="urn:microsoft.com/office/officeart/2005/8/layout/hierarchy3"/>
    <dgm:cxn modelId="{902BABA3-B4B7-45BF-A12E-E7D5D6D6FACA}" type="presParOf" srcId="{8304CACF-20B4-4E75-8A45-F43652792B03}" destId="{3251501F-9DA6-4EB2-9025-506F45A93DFD}" srcOrd="4" destOrd="0" presId="urn:microsoft.com/office/officeart/2005/8/layout/hierarchy3"/>
    <dgm:cxn modelId="{ADD8489D-BD36-4C05-8B32-724A1178DA4D}" type="presParOf" srcId="{8304CACF-20B4-4E75-8A45-F43652792B03}" destId="{12919AB8-2170-4B6F-9551-6E252CD8CE44}" srcOrd="5" destOrd="0" presId="urn:microsoft.com/office/officeart/2005/8/layout/hierarchy3"/>
    <dgm:cxn modelId="{2BEE052A-C1E4-496B-A464-3F0B372B3CBF}" type="presParOf" srcId="{8304CACF-20B4-4E75-8A45-F43652792B03}" destId="{55E2CD92-AD9E-40C8-A5BC-1A47AF157B0C}" srcOrd="6" destOrd="0" presId="urn:microsoft.com/office/officeart/2005/8/layout/hierarchy3"/>
    <dgm:cxn modelId="{6BE02EBF-12D0-4870-A0CD-FC16E4BD8E1D}" type="presParOf" srcId="{8304CACF-20B4-4E75-8A45-F43652792B03}" destId="{766A0D68-1607-41F0-A267-C796415DBEE3}"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 modelId="{268D9A20-B1E6-47F9-9179-21EC340B6362}" type="presParOf" srcId="{8304CACF-20B4-4E75-8A45-F43652792B03}" destId="{CB0950A0-E07E-409A-B414-19688D1AE367}" srcOrd="10" destOrd="0" presId="urn:microsoft.com/office/officeart/2005/8/layout/hierarchy3"/>
    <dgm:cxn modelId="{048E2622-742E-4C94-A0DC-EB85635C8560}" type="presParOf" srcId="{8304CACF-20B4-4E75-8A45-F43652792B03}" destId="{DA71EA43-23A4-455C-A454-915B5C5A986F}" srcOrd="11" destOrd="0" presId="urn:microsoft.com/office/officeart/2005/8/layout/hierarchy3"/>
    <dgm:cxn modelId="{31844BE0-EF01-4CC2-92D3-419AFB198184}" type="presParOf" srcId="{8304CACF-20B4-4E75-8A45-F43652792B03}" destId="{F488420A-84AF-41A8-984C-828B62833792}" srcOrd="12" destOrd="0" presId="urn:microsoft.com/office/officeart/2005/8/layout/hierarchy3"/>
    <dgm:cxn modelId="{F0740432-BF84-4831-B3F4-F1E487123512}" type="presParOf" srcId="{8304CACF-20B4-4E75-8A45-F43652792B03}" destId="{43DBFBCB-8163-469A-80C1-D07B7F258C80}" srcOrd="13" destOrd="0" presId="urn:microsoft.com/office/officeart/2005/8/layout/hierarchy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ACD70CE6-CED8-4A43-B40C-93FA893DF0F7}">
      <dgm:prSet custT="1"/>
      <dgm:spPr>
        <a:solidFill>
          <a:srgbClr val="877F67">
            <a:alpha val="30000"/>
          </a:srgbClr>
        </a:solidFill>
        <a:ln>
          <a:noFill/>
        </a:ln>
      </dgm:spPr>
      <dgm:t>
        <a:bodyPr/>
        <a:lstStyle/>
        <a:p>
          <a:r>
            <a:rPr lang="en-GB" sz="1200">
              <a:solidFill>
                <a:schemeClr val="tx1"/>
              </a:solidFill>
            </a:rPr>
            <a:t>3.1.6 Cyber Security Awareness</a:t>
          </a:r>
        </a:p>
      </dgm:t>
    </dgm:pt>
    <dgm:pt modelId="{3E51B8E0-9310-4DBF-938B-6FE435A70273}" type="parTrans" cxnId="{FCD389B0-AC96-4644-AB78-A2D720A3F242}">
      <dgm:prSet/>
      <dgm:spPr>
        <a:ln>
          <a:solidFill>
            <a:schemeClr val="tx1"/>
          </a:solidFill>
        </a:ln>
      </dgm:spPr>
      <dgm:t>
        <a:bodyPr/>
        <a:lstStyle/>
        <a:p>
          <a:endParaRPr lang="en-GB" sz="1200">
            <a:solidFill>
              <a:schemeClr val="tx1"/>
            </a:solidFill>
          </a:endParaRPr>
        </a:p>
      </dgm:t>
    </dgm:pt>
    <dgm:pt modelId="{04061FF3-F16C-4DBF-801C-B2AB05204B6B}" type="sibTrans" cxnId="{FCD389B0-AC96-4644-AB78-A2D720A3F242}">
      <dgm:prSet/>
      <dgm:spPr/>
      <dgm:t>
        <a:bodyPr/>
        <a:lstStyle/>
        <a:p>
          <a:endParaRPr lang="en-GB" sz="1200">
            <a:solidFill>
              <a:schemeClr val="tx1"/>
            </a:solidFill>
          </a:endParaRPr>
        </a:p>
      </dgm:t>
    </dgm:pt>
    <dgm:pt modelId="{67530942-6F0B-4EDE-B40C-2CDF4A50E970}">
      <dgm:prSet custT="1"/>
      <dgm:spPr>
        <a:solidFill>
          <a:srgbClr val="877F67">
            <a:alpha val="30000"/>
          </a:srgbClr>
        </a:solidFill>
        <a:ln>
          <a:noFill/>
        </a:ln>
      </dgm:spPr>
      <dgm:t>
        <a:bodyPr/>
        <a:lstStyle/>
        <a:p>
          <a:r>
            <a:rPr lang="en-GB" sz="1200">
              <a:solidFill>
                <a:schemeClr val="tx1"/>
              </a:solidFill>
            </a:rPr>
            <a:t>3.1.7 Cyber Security Training</a:t>
          </a:r>
        </a:p>
      </dgm:t>
    </dgm:pt>
    <dgm:pt modelId="{F110D7B0-4A0E-42B9-BA4C-1342FCF56191}" type="parTrans" cxnId="{FCE3CC87-50FD-48F9-825F-329CD8766124}">
      <dgm:prSet/>
      <dgm:spPr>
        <a:ln>
          <a:solidFill>
            <a:schemeClr val="tx1"/>
          </a:solidFill>
        </a:ln>
      </dgm:spPr>
      <dgm:t>
        <a:bodyPr/>
        <a:lstStyle/>
        <a:p>
          <a:endParaRPr lang="en-GB" sz="1200"/>
        </a:p>
      </dgm:t>
    </dgm:pt>
    <dgm:pt modelId="{40B35C12-8C12-4B35-AFBA-3AF644AE43CC}" type="sibTrans" cxnId="{FCE3CC87-50FD-48F9-825F-329CD8766124}">
      <dgm:prSet/>
      <dgm:spPr/>
      <dgm:t>
        <a:bodyPr/>
        <a:lstStyle/>
        <a:p>
          <a:endParaRPr lang="en-GB" sz="1200"/>
        </a:p>
      </dgm:t>
    </dgm:pt>
    <dgm:pt modelId="{709FF19A-4066-4AD5-9F82-64A367F357B0}">
      <dgm:prSet custT="1"/>
      <dgm:spPr>
        <a:solidFill>
          <a:srgbClr val="877F67">
            <a:alpha val="30000"/>
          </a:srgbClr>
        </a:solidFill>
        <a:ln>
          <a:noFill/>
        </a:ln>
      </dgm:spPr>
      <dgm:t>
        <a:bodyPr/>
        <a:lstStyle/>
        <a:p>
          <a:r>
            <a:rPr lang="en-US" sz="1200">
              <a:solidFill>
                <a:schemeClr val="tx1"/>
              </a:solidFill>
            </a:rPr>
            <a:t>3.1.5 Cyber Security in Project Management</a:t>
          </a:r>
          <a:endParaRPr lang="en-GB" sz="1200">
            <a:solidFill>
              <a:schemeClr val="tx1"/>
            </a:solidFill>
          </a:endParaRPr>
        </a:p>
      </dgm:t>
    </dgm:pt>
    <dgm:pt modelId="{3A864334-7B51-4984-83F7-2B938B3A28A4}" type="parTrans" cxnId="{E9747B6B-C4F0-43B5-B5C0-8A4BB958808A}">
      <dgm:prSet/>
      <dgm:spPr>
        <a:ln>
          <a:solidFill>
            <a:schemeClr val="tx1"/>
          </a:solidFill>
        </a:ln>
      </dgm:spPr>
      <dgm:t>
        <a:bodyPr/>
        <a:lstStyle/>
        <a:p>
          <a:endParaRPr lang="en-GB" sz="1200"/>
        </a:p>
      </dgm:t>
    </dgm:pt>
    <dgm:pt modelId="{4B89843C-6BF4-4091-B416-0F1D011C169A}" type="sibTrans" cxnId="{E9747B6B-C4F0-43B5-B5C0-8A4BB958808A}">
      <dgm:prSet/>
      <dgm:spPr/>
      <dgm:t>
        <a:bodyPr/>
        <a:lstStyle/>
        <a:p>
          <a:endParaRPr lang="en-GB" sz="1200"/>
        </a:p>
      </dgm:t>
    </dgm:pt>
    <dgm:pt modelId="{46DB8FAD-1070-48F1-9707-2CD4B316EE81}">
      <dgm:prSet custT="1"/>
      <dgm:spPr>
        <a:solidFill>
          <a:srgbClr val="877F67"/>
        </a:solidFill>
        <a:ln>
          <a:noFill/>
        </a:ln>
      </dgm:spPr>
      <dgm:t>
        <a:bodyPr/>
        <a:lstStyle/>
        <a:p>
          <a:pPr marL="0" lvl="0" indent="0" algn="ctr" defTabSz="622300">
            <a:lnSpc>
              <a:spcPct val="90000"/>
            </a:lnSpc>
            <a:spcBef>
              <a:spcPct val="0"/>
            </a:spcBef>
            <a:spcAft>
              <a:spcPct val="35000"/>
            </a:spcAft>
            <a:buClrTx/>
            <a:buSzTx/>
            <a:buFontTx/>
            <a:buNone/>
          </a:pPr>
          <a:r>
            <a:rPr kumimoji="0" lang="fr-FR" sz="1400" b="1" i="0" u="none" strike="noStrike" kern="1200" cap="none" spc="0" normalizeH="0" baseline="0" noProof="0">
              <a:ln>
                <a:noFill/>
              </a:ln>
              <a:solidFill>
                <a:prstClr val="white"/>
              </a:solidFill>
              <a:effectLst/>
              <a:uLnTx/>
              <a:uFillTx/>
              <a:latin typeface="Calibri"/>
              <a:ea typeface="+mn-ea"/>
              <a:cs typeface="+mn-cs"/>
            </a:rPr>
            <a:t>3.4 </a:t>
          </a:r>
          <a:r>
            <a:rPr kumimoji="0" lang="fr-FR" sz="1400" b="1" i="0" u="none" strike="noStrike" kern="1200" cap="none" spc="0" normalizeH="0" baseline="0" noProof="0" err="1">
              <a:ln>
                <a:noFill/>
              </a:ln>
              <a:solidFill>
                <a:prstClr val="white"/>
              </a:solidFill>
              <a:effectLst/>
              <a:uLnTx/>
              <a:uFillTx/>
              <a:latin typeface="Calibri"/>
              <a:ea typeface="+mn-ea"/>
              <a:cs typeface="+mn-cs"/>
            </a:rPr>
            <a:t>Third</a:t>
          </a:r>
          <a:r>
            <a:rPr kumimoji="0" lang="fr-FR" sz="1400" b="1" i="0" u="none" strike="noStrike" kern="1200" cap="none" spc="0" normalizeH="0" baseline="0" noProof="0">
              <a:ln>
                <a:noFill/>
              </a:ln>
              <a:solidFill>
                <a:prstClr val="white"/>
              </a:solidFill>
              <a:effectLst/>
              <a:uLnTx/>
              <a:uFillTx/>
              <a:latin typeface="Calibri"/>
              <a:ea typeface="+mn-ea"/>
              <a:cs typeface="+mn-cs"/>
            </a:rPr>
            <a:t> Party Cyber Security</a:t>
          </a:r>
          <a:endParaRPr kumimoji="0" lang="en-GB" sz="1400" b="1" i="0" u="none" strike="noStrike" kern="1200" cap="none" spc="0" normalizeH="0" baseline="0">
            <a:ln>
              <a:noFill/>
            </a:ln>
            <a:solidFill>
              <a:prstClr val="white"/>
            </a:solidFill>
            <a:effectLst/>
            <a:uLnTx/>
            <a:uFillTx/>
            <a:latin typeface="Calibri"/>
            <a:ea typeface="+mn-ea"/>
            <a:cs typeface="+mn-cs"/>
          </a:endParaRPr>
        </a:p>
      </dgm:t>
    </dgm:pt>
    <dgm:pt modelId="{19B3FF94-0917-4972-B2A7-D3B0088D44DD}" type="parTrans" cxnId="{C720160C-3484-4F9A-B597-334EDFBD477B}">
      <dgm:prSet/>
      <dgm:spPr/>
      <dgm:t>
        <a:bodyPr/>
        <a:lstStyle/>
        <a:p>
          <a:endParaRPr lang="en-GB"/>
        </a:p>
      </dgm:t>
    </dgm:pt>
    <dgm:pt modelId="{BDFF9871-0F5B-4AE7-AB10-F38AFAB93FCC}" type="sibTrans" cxnId="{C720160C-3484-4F9A-B597-334EDFBD477B}">
      <dgm:prSet/>
      <dgm:spPr/>
      <dgm:t>
        <a:bodyPr/>
        <a:lstStyle/>
        <a:p>
          <a:endParaRPr lang="en-GB"/>
        </a:p>
      </dgm:t>
    </dgm:pt>
    <dgm:pt modelId="{9AF2F94A-59B5-43F6-8ED2-D32C234278A2}" type="pres">
      <dgm:prSet presAssocID="{1BD78650-2358-4AFA-9F0E-97678F2776BA}" presName="diagram" presStyleCnt="0">
        <dgm:presLayoutVars>
          <dgm:chPref val="1"/>
          <dgm:dir/>
          <dgm:animOne val="branch"/>
          <dgm:animLvl val="lvl"/>
          <dgm:resizeHandles/>
        </dgm:presLayoutVars>
      </dgm:prSet>
      <dgm:spPr/>
    </dgm:pt>
    <dgm:pt modelId="{12AA0183-B67A-448D-8E5F-FF8980FBEECB}" type="pres">
      <dgm:prSet presAssocID="{46DB8FAD-1070-48F1-9707-2CD4B316EE81}" presName="root" presStyleCnt="0"/>
      <dgm:spPr/>
    </dgm:pt>
    <dgm:pt modelId="{CEF5DB07-2962-43BA-A5B4-D3BBC6F6560C}" type="pres">
      <dgm:prSet presAssocID="{46DB8FAD-1070-48F1-9707-2CD4B316EE81}" presName="rootComposite" presStyleCnt="0"/>
      <dgm:spPr/>
    </dgm:pt>
    <dgm:pt modelId="{9128E8EF-311E-4529-8EA9-0B076C2F0DC6}" type="pres">
      <dgm:prSet presAssocID="{46DB8FAD-1070-48F1-9707-2CD4B316EE81}" presName="rootText" presStyleLbl="node1" presStyleIdx="0" presStyleCnt="1" custScaleX="243285"/>
      <dgm:spPr/>
    </dgm:pt>
    <dgm:pt modelId="{6B57468F-560F-4116-842C-1324A852FF55}" type="pres">
      <dgm:prSet presAssocID="{46DB8FAD-1070-48F1-9707-2CD4B316EE81}" presName="rootConnector" presStyleLbl="node1" presStyleIdx="0" presStyleCnt="1"/>
      <dgm:spPr/>
    </dgm:pt>
    <dgm:pt modelId="{A6A6ECDE-3A8F-4A4F-90C8-F73F981E973C}" type="pres">
      <dgm:prSet presAssocID="{46DB8FAD-1070-48F1-9707-2CD4B316EE81}" presName="childShape" presStyleCnt="0"/>
      <dgm:spPr/>
    </dgm:pt>
    <dgm:pt modelId="{9E050A7C-33F7-4DB8-A522-813A440E9C03}" type="pres">
      <dgm:prSet presAssocID="{3A864334-7B51-4984-83F7-2B938B3A28A4}" presName="Name13" presStyleLbl="parChTrans1D2" presStyleIdx="0" presStyleCnt="3"/>
      <dgm:spPr/>
    </dgm:pt>
    <dgm:pt modelId="{C5D94FBB-A394-4442-B887-B9ADF1863244}" type="pres">
      <dgm:prSet presAssocID="{709FF19A-4066-4AD5-9F82-64A367F357B0}" presName="childText" presStyleLbl="bgAcc1" presStyleIdx="0" presStyleCnt="3" custScaleX="241058" custScaleY="69551">
        <dgm:presLayoutVars>
          <dgm:bulletEnabled val="1"/>
        </dgm:presLayoutVars>
      </dgm:prSet>
      <dgm:spPr/>
    </dgm:pt>
    <dgm:pt modelId="{31CDA2F8-4734-4D74-84AF-1CA56B032914}" type="pres">
      <dgm:prSet presAssocID="{3E51B8E0-9310-4DBF-938B-6FE435A70273}" presName="Name13" presStyleLbl="parChTrans1D2" presStyleIdx="1" presStyleCnt="3"/>
      <dgm:spPr/>
    </dgm:pt>
    <dgm:pt modelId="{40E4265C-3B0A-43B7-98B0-2A4BF9DCDA56}" type="pres">
      <dgm:prSet presAssocID="{ACD70CE6-CED8-4A43-B40C-93FA893DF0F7}" presName="childText" presStyleLbl="bgAcc1" presStyleIdx="1" presStyleCnt="3" custScaleX="241058" custScaleY="69551">
        <dgm:presLayoutVars>
          <dgm:bulletEnabled val="1"/>
        </dgm:presLayoutVars>
      </dgm:prSet>
      <dgm:spPr/>
    </dgm:pt>
    <dgm:pt modelId="{A8063AC4-6572-4B2D-BC44-C17FA99F9AED}" type="pres">
      <dgm:prSet presAssocID="{F110D7B0-4A0E-42B9-BA4C-1342FCF56191}" presName="Name13" presStyleLbl="parChTrans1D2" presStyleIdx="2" presStyleCnt="3"/>
      <dgm:spPr/>
    </dgm:pt>
    <dgm:pt modelId="{35852FE5-C66A-423F-9677-4DE361FC845A}" type="pres">
      <dgm:prSet presAssocID="{67530942-6F0B-4EDE-B40C-2CDF4A50E970}" presName="childText" presStyleLbl="bgAcc1" presStyleIdx="2" presStyleCnt="3" custScaleX="241058" custScaleY="69551">
        <dgm:presLayoutVars>
          <dgm:bulletEnabled val="1"/>
        </dgm:presLayoutVars>
      </dgm:prSet>
      <dgm:spPr/>
    </dgm:pt>
  </dgm:ptLst>
  <dgm:cxnLst>
    <dgm:cxn modelId="{C720160C-3484-4F9A-B597-334EDFBD477B}" srcId="{1BD78650-2358-4AFA-9F0E-97678F2776BA}" destId="{46DB8FAD-1070-48F1-9707-2CD4B316EE81}" srcOrd="0" destOrd="0" parTransId="{19B3FF94-0917-4972-B2A7-D3B0088D44DD}" sibTransId="{BDFF9871-0F5B-4AE7-AB10-F38AFAB93FCC}"/>
    <dgm:cxn modelId="{59929D22-3782-47DA-87EC-817AB1AD92E1}" type="presOf" srcId="{709FF19A-4066-4AD5-9F82-64A367F357B0}" destId="{C5D94FBB-A394-4442-B887-B9ADF1863244}" srcOrd="0" destOrd="0" presId="urn:microsoft.com/office/officeart/2005/8/layout/hierarchy3"/>
    <dgm:cxn modelId="{983D1334-F5A7-4321-B9CD-1A60322CEDF2}" type="presOf" srcId="{46DB8FAD-1070-48F1-9707-2CD4B316EE81}" destId="{9128E8EF-311E-4529-8EA9-0B076C2F0DC6}" srcOrd="0" destOrd="0" presId="urn:microsoft.com/office/officeart/2005/8/layout/hierarchy3"/>
    <dgm:cxn modelId="{ED057548-A706-4B37-A361-B1A2A87631A1}" type="presOf" srcId="{1BD78650-2358-4AFA-9F0E-97678F2776BA}" destId="{9AF2F94A-59B5-43F6-8ED2-D32C234278A2}" srcOrd="0" destOrd="0" presId="urn:microsoft.com/office/officeart/2005/8/layout/hierarchy3"/>
    <dgm:cxn modelId="{988EB369-931E-4393-8B3A-EB53B4ED66C3}" type="presOf" srcId="{46DB8FAD-1070-48F1-9707-2CD4B316EE81}" destId="{6B57468F-560F-4116-842C-1324A852FF55}" srcOrd="1" destOrd="0" presId="urn:microsoft.com/office/officeart/2005/8/layout/hierarchy3"/>
    <dgm:cxn modelId="{E9747B6B-C4F0-43B5-B5C0-8A4BB958808A}" srcId="{46DB8FAD-1070-48F1-9707-2CD4B316EE81}" destId="{709FF19A-4066-4AD5-9F82-64A367F357B0}" srcOrd="0" destOrd="0" parTransId="{3A864334-7B51-4984-83F7-2B938B3A28A4}" sibTransId="{4B89843C-6BF4-4091-B416-0F1D011C169A}"/>
    <dgm:cxn modelId="{FCE3CC87-50FD-48F9-825F-329CD8766124}" srcId="{46DB8FAD-1070-48F1-9707-2CD4B316EE81}" destId="{67530942-6F0B-4EDE-B40C-2CDF4A50E970}" srcOrd="2" destOrd="0" parTransId="{F110D7B0-4A0E-42B9-BA4C-1342FCF56191}" sibTransId="{40B35C12-8C12-4B35-AFBA-3AF644AE43CC}"/>
    <dgm:cxn modelId="{BFD199A2-E9D8-42FF-8AAC-28345CB94694}" type="presOf" srcId="{3E51B8E0-9310-4DBF-938B-6FE435A70273}" destId="{31CDA2F8-4734-4D74-84AF-1CA56B032914}" srcOrd="0" destOrd="0" presId="urn:microsoft.com/office/officeart/2005/8/layout/hierarchy3"/>
    <dgm:cxn modelId="{3CDDA3AE-0CF0-403B-BCC6-BE083FB4AEF0}" type="presOf" srcId="{3A864334-7B51-4984-83F7-2B938B3A28A4}" destId="{9E050A7C-33F7-4DB8-A522-813A440E9C03}" srcOrd="0" destOrd="0" presId="urn:microsoft.com/office/officeart/2005/8/layout/hierarchy3"/>
    <dgm:cxn modelId="{FCD389B0-AC96-4644-AB78-A2D720A3F242}" srcId="{46DB8FAD-1070-48F1-9707-2CD4B316EE81}" destId="{ACD70CE6-CED8-4A43-B40C-93FA893DF0F7}" srcOrd="1" destOrd="0" parTransId="{3E51B8E0-9310-4DBF-938B-6FE435A70273}" sibTransId="{04061FF3-F16C-4DBF-801C-B2AB05204B6B}"/>
    <dgm:cxn modelId="{1CC5F8F1-B165-4F88-BDA3-2D217913E966}" type="presOf" srcId="{67530942-6F0B-4EDE-B40C-2CDF4A50E970}" destId="{35852FE5-C66A-423F-9677-4DE361FC845A}" srcOrd="0" destOrd="0" presId="urn:microsoft.com/office/officeart/2005/8/layout/hierarchy3"/>
    <dgm:cxn modelId="{D65632F7-1C53-45C1-AAA5-8551913CC648}" type="presOf" srcId="{F110D7B0-4A0E-42B9-BA4C-1342FCF56191}" destId="{A8063AC4-6572-4B2D-BC44-C17FA99F9AED}" srcOrd="0" destOrd="0" presId="urn:microsoft.com/office/officeart/2005/8/layout/hierarchy3"/>
    <dgm:cxn modelId="{2663EAF7-B8F8-46BD-A4BD-67507C983280}" type="presOf" srcId="{ACD70CE6-CED8-4A43-B40C-93FA893DF0F7}" destId="{40E4265C-3B0A-43B7-98B0-2A4BF9DCDA56}" srcOrd="0" destOrd="0" presId="urn:microsoft.com/office/officeart/2005/8/layout/hierarchy3"/>
    <dgm:cxn modelId="{D6294963-AE4F-4487-84D7-48765482BD53}" type="presParOf" srcId="{9AF2F94A-59B5-43F6-8ED2-D32C234278A2}" destId="{12AA0183-B67A-448D-8E5F-FF8980FBEECB}" srcOrd="0" destOrd="0" presId="urn:microsoft.com/office/officeart/2005/8/layout/hierarchy3"/>
    <dgm:cxn modelId="{858E1675-3A49-4D20-BBEC-CE9768D428DB}" type="presParOf" srcId="{12AA0183-B67A-448D-8E5F-FF8980FBEECB}" destId="{CEF5DB07-2962-43BA-A5B4-D3BBC6F6560C}" srcOrd="0" destOrd="0" presId="urn:microsoft.com/office/officeart/2005/8/layout/hierarchy3"/>
    <dgm:cxn modelId="{03BA3DE5-4B39-48E1-8C05-E5B6FD069510}" type="presParOf" srcId="{CEF5DB07-2962-43BA-A5B4-D3BBC6F6560C}" destId="{9128E8EF-311E-4529-8EA9-0B076C2F0DC6}" srcOrd="0" destOrd="0" presId="urn:microsoft.com/office/officeart/2005/8/layout/hierarchy3"/>
    <dgm:cxn modelId="{8BD14580-4457-4DF3-B516-2B351A967E54}" type="presParOf" srcId="{CEF5DB07-2962-43BA-A5B4-D3BBC6F6560C}" destId="{6B57468F-560F-4116-842C-1324A852FF55}" srcOrd="1" destOrd="0" presId="urn:microsoft.com/office/officeart/2005/8/layout/hierarchy3"/>
    <dgm:cxn modelId="{A4A9761C-4ECF-4DCF-8BF7-ADA907E46FE9}" type="presParOf" srcId="{12AA0183-B67A-448D-8E5F-FF8980FBEECB}" destId="{A6A6ECDE-3A8F-4A4F-90C8-F73F981E973C}" srcOrd="1" destOrd="0" presId="urn:microsoft.com/office/officeart/2005/8/layout/hierarchy3"/>
    <dgm:cxn modelId="{5969B04E-3E68-469B-9A5C-8FE0ADE1C43F}" type="presParOf" srcId="{A6A6ECDE-3A8F-4A4F-90C8-F73F981E973C}" destId="{9E050A7C-33F7-4DB8-A522-813A440E9C03}" srcOrd="0" destOrd="0" presId="urn:microsoft.com/office/officeart/2005/8/layout/hierarchy3"/>
    <dgm:cxn modelId="{200C024D-6741-4910-AA52-006310690FBD}" type="presParOf" srcId="{A6A6ECDE-3A8F-4A4F-90C8-F73F981E973C}" destId="{C5D94FBB-A394-4442-B887-B9ADF1863244}" srcOrd="1" destOrd="0" presId="urn:microsoft.com/office/officeart/2005/8/layout/hierarchy3"/>
    <dgm:cxn modelId="{25412A61-945D-4E45-A85C-8E20EFE2CE10}" type="presParOf" srcId="{A6A6ECDE-3A8F-4A4F-90C8-F73F981E973C}" destId="{31CDA2F8-4734-4D74-84AF-1CA56B032914}" srcOrd="2" destOrd="0" presId="urn:microsoft.com/office/officeart/2005/8/layout/hierarchy3"/>
    <dgm:cxn modelId="{91F1C68F-A3C2-4A47-8A05-E46A40D8710B}" type="presParOf" srcId="{A6A6ECDE-3A8F-4A4F-90C8-F73F981E973C}" destId="{40E4265C-3B0A-43B7-98B0-2A4BF9DCDA56}" srcOrd="3" destOrd="0" presId="urn:microsoft.com/office/officeart/2005/8/layout/hierarchy3"/>
    <dgm:cxn modelId="{285ECF34-F2A6-451F-A57A-ACFF008C53C8}" type="presParOf" srcId="{A6A6ECDE-3A8F-4A4F-90C8-F73F981E973C}" destId="{A8063AC4-6572-4B2D-BC44-C17FA99F9AED}" srcOrd="4" destOrd="0" presId="urn:microsoft.com/office/officeart/2005/8/layout/hierarchy3"/>
    <dgm:cxn modelId="{1D6DB0B6-D914-4733-8C45-8C51264279B8}" type="presParOf" srcId="{A6A6ECDE-3A8F-4A4F-90C8-F73F981E973C}" destId="{35852FE5-C66A-423F-9677-4DE361FC845A}" srcOrd="5" destOrd="0" presId="urn:microsoft.com/office/officeart/2005/8/layout/hierarchy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55C61814-B326-4C5E-9E63-EB33FBD6A5AD}">
      <dgm:prSet custT="1"/>
      <dgm:spPr>
        <a:solidFill>
          <a:srgbClr val="906666">
            <a:alpha val="30000"/>
          </a:srgbClr>
        </a:solidFill>
        <a:ln>
          <a:noFill/>
        </a:ln>
      </dgm:spPr>
      <dgm:t>
        <a:bodyPr/>
        <a:lstStyle/>
        <a:p>
          <a:r>
            <a:rPr kumimoji="0" lang="en-GB" sz="1200" b="0" i="0" u="none" strike="noStrike" cap="none" spc="0" normalizeH="0" baseline="0" noProof="0">
              <a:ln>
                <a:noFill/>
              </a:ln>
              <a:solidFill>
                <a:srgbClr val="000000"/>
              </a:solidFill>
              <a:effectLst/>
              <a:uLnTx/>
              <a:uFillTx/>
              <a:latin typeface="Calibri" panose="020F0502020204030204" pitchFamily="34" charset="0"/>
              <a:ea typeface="+mn-ea"/>
              <a:cs typeface="+mn-cs"/>
            </a:rPr>
            <a:t>3.2.2 Regulatory Compliance</a:t>
          </a:r>
          <a:endParaRPr lang="en-GB" sz="1200">
            <a:solidFill>
              <a:schemeClr val="tx1"/>
            </a:solidFill>
          </a:endParaRPr>
        </a:p>
      </dgm:t>
    </dgm:pt>
    <dgm:pt modelId="{F853DE77-67C4-42F3-B2E8-F7A900A4201D}" type="parTrans" cxnId="{F2288147-DC6C-438A-9819-4DCC1DB1F8C4}">
      <dgm:prSet/>
      <dgm:spPr/>
      <dgm:t>
        <a:bodyPr/>
        <a:lstStyle/>
        <a:p>
          <a:endParaRPr lang="en-GB" sz="1200"/>
        </a:p>
      </dgm:t>
    </dgm:pt>
    <dgm:pt modelId="{7E3BE03B-BE28-43AC-8F54-79E9F2C29787}" type="sibTrans" cxnId="{F2288147-DC6C-438A-9819-4DCC1DB1F8C4}">
      <dgm:prSet/>
      <dgm:spPr/>
      <dgm:t>
        <a:bodyPr/>
        <a:lstStyle/>
        <a:p>
          <a:endParaRPr lang="en-GB" sz="1200"/>
        </a:p>
      </dgm:t>
    </dgm:pt>
    <dgm:pt modelId="{2891BFE9-EBD7-458E-B15E-2DD66CAB2F23}">
      <dgm:prSet custT="1"/>
      <dgm:spPr>
        <a:solidFill>
          <a:srgbClr val="906666">
            <a:alpha val="30000"/>
          </a:srgbClr>
        </a:solidFill>
        <a:ln>
          <a:noFill/>
        </a:ln>
      </dgm:spPr>
      <dgm:t>
        <a:bodyPr lIns="0" rIns="0"/>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3 Compliance with (inter)national industry standards</a:t>
          </a:r>
          <a:endParaRPr lang="en-GB" sz="1200">
            <a:solidFill>
              <a:schemeClr val="tx1"/>
            </a:solidFill>
          </a:endParaRPr>
        </a:p>
      </dgm:t>
    </dgm:pt>
    <dgm:pt modelId="{93FB6BD0-39B7-4A3E-9EC9-F2E5388C02CB}" type="parTrans" cxnId="{A1D1DA74-98EB-42E1-9BC0-898AF47330B0}">
      <dgm:prSet/>
      <dgm:spPr/>
      <dgm:t>
        <a:bodyPr/>
        <a:lstStyle/>
        <a:p>
          <a:endParaRPr lang="en-GB" sz="1200"/>
        </a:p>
      </dgm:t>
    </dgm:pt>
    <dgm:pt modelId="{6649B898-CBC8-448B-A704-E6049399692D}" type="sibTrans" cxnId="{A1D1DA74-98EB-42E1-9BC0-898AF47330B0}">
      <dgm:prSet/>
      <dgm:spPr/>
      <dgm:t>
        <a:bodyPr/>
        <a:lstStyle/>
        <a:p>
          <a:endParaRPr lang="en-GB" sz="1200"/>
        </a:p>
      </dgm:t>
    </dgm:pt>
    <dgm:pt modelId="{A636FFB3-E2B7-4995-89B8-D1BCD309B532}">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4 Cyber Security Review</a:t>
          </a:r>
          <a:endParaRPr lang="en-GB" sz="1200">
            <a:solidFill>
              <a:schemeClr val="tx1"/>
            </a:solidFill>
          </a:endParaRPr>
        </a:p>
      </dgm:t>
    </dgm:pt>
    <dgm:pt modelId="{65ADF058-A558-416E-9310-F4F321FA504E}" type="parTrans" cxnId="{EC9D0ED7-D2C5-4AEC-B364-D4DB58D68584}">
      <dgm:prSet/>
      <dgm:spPr/>
      <dgm:t>
        <a:bodyPr/>
        <a:lstStyle/>
        <a:p>
          <a:endParaRPr lang="en-GB" sz="1200"/>
        </a:p>
      </dgm:t>
    </dgm:pt>
    <dgm:pt modelId="{B226EAAB-A8EB-408B-A049-91E34E2C13DC}" type="sibTrans" cxnId="{EC9D0ED7-D2C5-4AEC-B364-D4DB58D68584}">
      <dgm:prSet/>
      <dgm:spPr/>
      <dgm:t>
        <a:bodyPr/>
        <a:lstStyle/>
        <a:p>
          <a:endParaRPr lang="en-GB" sz="1200"/>
        </a:p>
      </dgm:t>
    </dgm:pt>
    <dgm:pt modelId="{BBC204D4-1BDA-49D1-930E-D1CBCF670B7F}">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5 Cyber Security Audi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C806884C-CBCD-4CE8-A4C6-25FD1AAF1667}">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1 Cyber Security Risk Management</a:t>
          </a:r>
          <a:endParaRPr lang="en-GB" sz="1200">
            <a:solidFill>
              <a:schemeClr val="tx1"/>
            </a:solidFill>
          </a:endParaRP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ACD70CE6-CED8-4A43-B40C-93FA893DF0F7}">
      <dgm:prSet custT="1"/>
      <dgm:spPr>
        <a:solidFill>
          <a:srgbClr val="906666"/>
        </a:solidFill>
      </dgm:spPr>
      <dgm:t>
        <a:bodyPr/>
        <a:lstStyle/>
        <a:p>
          <a:r>
            <a:rPr kumimoji="0" lang="en-US" sz="1400" b="1" i="0" u="none" strike="noStrike" kern="1200" cap="none" spc="0" normalizeH="0" baseline="0" noProof="0">
              <a:ln>
                <a:noFill/>
              </a:ln>
              <a:solidFill>
                <a:prstClr val="white"/>
              </a:solidFill>
              <a:effectLst/>
              <a:uLnTx/>
              <a:uFillTx/>
              <a:latin typeface="Calibri"/>
              <a:ea typeface="+mn-ea"/>
              <a:cs typeface="+mn-cs"/>
            </a:rPr>
            <a:t>3.2 Cyber Security Risk Management and Compliance</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gm:t>
    </dgm:pt>
    <dgm:pt modelId="{04061FF3-F16C-4DBF-801C-B2AB05204B6B}" type="sibTrans" cxnId="{FCD389B0-AC96-4644-AB78-A2D720A3F242}">
      <dgm:prSet/>
      <dgm:spPr/>
      <dgm:t>
        <a:bodyPr/>
        <a:lstStyle/>
        <a:p>
          <a:endParaRPr lang="en-GB" sz="12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29105"/>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5"/>
      <dgm:spPr/>
    </dgm:pt>
    <dgm:pt modelId="{2E5437AB-B759-40C3-9F13-A013EA3F4F8A}" type="pres">
      <dgm:prSet presAssocID="{C806884C-CBCD-4CE8-A4C6-25FD1AAF1667}" presName="childText" presStyleLbl="bgAcc1" presStyleIdx="0" presStyleCnt="5" custScaleX="310706">
        <dgm:presLayoutVars>
          <dgm:bulletEnabled val="1"/>
        </dgm:presLayoutVars>
      </dgm:prSet>
      <dgm:spPr/>
    </dgm:pt>
    <dgm:pt modelId="{91D3B5D1-FAD0-4492-9EDB-F1D4FDE1B420}" type="pres">
      <dgm:prSet presAssocID="{F853DE77-67C4-42F3-B2E8-F7A900A4201D}" presName="Name13" presStyleLbl="parChTrans1D2" presStyleIdx="1" presStyleCnt="5"/>
      <dgm:spPr/>
    </dgm:pt>
    <dgm:pt modelId="{E2F0E69F-01C2-45AA-ADDD-E56A602EA7A1}" type="pres">
      <dgm:prSet presAssocID="{55C61814-B326-4C5E-9E63-EB33FBD6A5AD}" presName="childText" presStyleLbl="bgAcc1" presStyleIdx="1" presStyleCnt="5" custScaleX="310706">
        <dgm:presLayoutVars>
          <dgm:bulletEnabled val="1"/>
        </dgm:presLayoutVars>
      </dgm:prSet>
      <dgm:spPr/>
    </dgm:pt>
    <dgm:pt modelId="{3251501F-9DA6-4EB2-9025-506F45A93DFD}" type="pres">
      <dgm:prSet presAssocID="{93FB6BD0-39B7-4A3E-9EC9-F2E5388C02CB}" presName="Name13" presStyleLbl="parChTrans1D2" presStyleIdx="2" presStyleCnt="5"/>
      <dgm:spPr/>
    </dgm:pt>
    <dgm:pt modelId="{12919AB8-2170-4B6F-9551-6E252CD8CE44}" type="pres">
      <dgm:prSet presAssocID="{2891BFE9-EBD7-458E-B15E-2DD66CAB2F23}" presName="childText" presStyleLbl="bgAcc1" presStyleIdx="2" presStyleCnt="5" custScaleX="310706">
        <dgm:presLayoutVars>
          <dgm:bulletEnabled val="1"/>
        </dgm:presLayoutVars>
      </dgm:prSet>
      <dgm:spPr/>
    </dgm:pt>
    <dgm:pt modelId="{55E2CD92-AD9E-40C8-A5BC-1A47AF157B0C}" type="pres">
      <dgm:prSet presAssocID="{65ADF058-A558-416E-9310-F4F321FA504E}" presName="Name13" presStyleLbl="parChTrans1D2" presStyleIdx="3" presStyleCnt="5"/>
      <dgm:spPr/>
    </dgm:pt>
    <dgm:pt modelId="{766A0D68-1607-41F0-A267-C796415DBEE3}" type="pres">
      <dgm:prSet presAssocID="{A636FFB3-E2B7-4995-89B8-D1BCD309B532}" presName="childText" presStyleLbl="bgAcc1" presStyleIdx="3" presStyleCnt="5" custScaleX="310706">
        <dgm:presLayoutVars>
          <dgm:bulletEnabled val="1"/>
        </dgm:presLayoutVars>
      </dgm:prSet>
      <dgm:spPr/>
    </dgm:pt>
    <dgm:pt modelId="{187FC86E-8BAF-4D13-93CC-7BCD000E8A83}" type="pres">
      <dgm:prSet presAssocID="{2911194B-1CDC-46CE-8844-E3B0F6A7153F}" presName="Name13" presStyleLbl="parChTrans1D2" presStyleIdx="4" presStyleCnt="5"/>
      <dgm:spPr/>
    </dgm:pt>
    <dgm:pt modelId="{DA2AE177-2927-4FD2-90CE-DED2686D2A2E}" type="pres">
      <dgm:prSet presAssocID="{BBC204D4-1BDA-49D1-930E-D1CBCF670B7F}" presName="childText" presStyleLbl="bgAcc1" presStyleIdx="4" presStyleCnt="5" custScaleX="310706">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FF02BA27-8420-42A2-8FEB-440B427EA338}" type="presOf" srcId="{A636FFB3-E2B7-4995-89B8-D1BCD309B532}" destId="{766A0D68-1607-41F0-A267-C796415DBEE3}" srcOrd="0" destOrd="0" presId="urn:microsoft.com/office/officeart/2005/8/layout/hierarchy3"/>
    <dgm:cxn modelId="{FF64943C-8F42-43B3-B291-FC4FE0770A18}" type="presOf" srcId="{55C61814-B326-4C5E-9E63-EB33FBD6A5AD}" destId="{E2F0E69F-01C2-45AA-ADDD-E56A602EA7A1}" srcOrd="0" destOrd="0" presId="urn:microsoft.com/office/officeart/2005/8/layout/hierarchy3"/>
    <dgm:cxn modelId="{C3EEEB43-DEF5-4DFD-B013-F8970162E49B}" type="presOf" srcId="{93FB6BD0-39B7-4A3E-9EC9-F2E5388C02CB}" destId="{3251501F-9DA6-4EB2-9025-506F45A93DFD}" srcOrd="0" destOrd="0" presId="urn:microsoft.com/office/officeart/2005/8/layout/hierarchy3"/>
    <dgm:cxn modelId="{F2288147-DC6C-438A-9819-4DCC1DB1F8C4}" srcId="{ACD70CE6-CED8-4A43-B40C-93FA893DF0F7}" destId="{55C61814-B326-4C5E-9E63-EB33FBD6A5AD}" srcOrd="1" destOrd="0" parTransId="{F853DE77-67C4-42F3-B2E8-F7A900A4201D}" sibTransId="{7E3BE03B-BE28-43AC-8F54-79E9F2C29787}"/>
    <dgm:cxn modelId="{245CB147-9D2E-48EE-AA31-586DD06D1C91}" type="presOf" srcId="{C13D4231-302B-48B0-97C7-E9C939E27344}" destId="{21BBA50E-DC8E-4CBB-89B9-5B8869409D70}" srcOrd="0" destOrd="0" presId="urn:microsoft.com/office/officeart/2005/8/layout/hierarchy3"/>
    <dgm:cxn modelId="{66D6576E-2393-49FD-BE66-97E566724A46}" type="presOf" srcId="{65ADF058-A558-416E-9310-F4F321FA504E}" destId="{55E2CD92-AD9E-40C8-A5BC-1A47AF157B0C}" srcOrd="0" destOrd="0" presId="urn:microsoft.com/office/officeart/2005/8/layout/hierarchy3"/>
    <dgm:cxn modelId="{A1D1DA74-98EB-42E1-9BC0-898AF47330B0}" srcId="{ACD70CE6-CED8-4A43-B40C-93FA893DF0F7}" destId="{2891BFE9-EBD7-458E-B15E-2DD66CAB2F23}" srcOrd="2" destOrd="0" parTransId="{93FB6BD0-39B7-4A3E-9EC9-F2E5388C02CB}" sibTransId="{6649B898-CBC8-448B-A704-E6049399692D}"/>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971D22A6-2FA9-45FF-9A7D-9EB1150B90BE}" type="presOf" srcId="{BBC204D4-1BDA-49D1-930E-D1CBCF670B7F}" destId="{DA2AE177-2927-4FD2-90CE-DED2686D2A2E}" srcOrd="0" destOrd="0" presId="urn:microsoft.com/office/officeart/2005/8/layout/hierarchy3"/>
    <dgm:cxn modelId="{FCD389B0-AC96-4644-AB78-A2D720A3F242}" srcId="{1BD78650-2358-4AFA-9F0E-97678F2776BA}" destId="{ACD70CE6-CED8-4A43-B40C-93FA893DF0F7}" srcOrd="0" destOrd="0" parTransId="{3E51B8E0-9310-4DBF-938B-6FE435A70273}" sibTransId="{04061FF3-F16C-4DBF-801C-B2AB05204B6B}"/>
    <dgm:cxn modelId="{D46F87BD-18BA-41EE-B1A7-70E5460F3DA9}" type="presOf" srcId="{2891BFE9-EBD7-458E-B15E-2DD66CAB2F23}" destId="{12919AB8-2170-4B6F-9551-6E252CD8CE44}" srcOrd="0" destOrd="0" presId="urn:microsoft.com/office/officeart/2005/8/layout/hierarchy3"/>
    <dgm:cxn modelId="{576C94C7-25CE-416D-A629-4C3E386F7D48}" type="presOf" srcId="{F853DE77-67C4-42F3-B2E8-F7A900A4201D}" destId="{91D3B5D1-FAD0-4492-9EDB-F1D4FDE1B420}" srcOrd="0" destOrd="0" presId="urn:microsoft.com/office/officeart/2005/8/layout/hierarchy3"/>
    <dgm:cxn modelId="{EC9D0ED7-D2C5-4AEC-B364-D4DB58D68584}" srcId="{ACD70CE6-CED8-4A43-B40C-93FA893DF0F7}" destId="{A636FFB3-E2B7-4995-89B8-D1BCD309B532}" srcOrd="3" destOrd="0" parTransId="{65ADF058-A558-416E-9310-F4F321FA504E}" sibTransId="{B226EAAB-A8EB-408B-A049-91E34E2C13DC}"/>
    <dgm:cxn modelId="{965A9DE2-E25A-4D11-B42A-5C997B00C2C3}" type="presOf" srcId="{2911194B-1CDC-46CE-8844-E3B0F6A7153F}" destId="{187FC86E-8BAF-4D13-93CC-7BCD000E8A83}"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7C181CD3-8E67-4F74-8100-A066941CAEBB}" type="presParOf" srcId="{8304CACF-20B4-4E75-8A45-F43652792B03}" destId="{91D3B5D1-FAD0-4492-9EDB-F1D4FDE1B420}" srcOrd="2" destOrd="0" presId="urn:microsoft.com/office/officeart/2005/8/layout/hierarchy3"/>
    <dgm:cxn modelId="{1E1D104C-3209-4824-ACF6-8CD8D80902EB}" type="presParOf" srcId="{8304CACF-20B4-4E75-8A45-F43652792B03}" destId="{E2F0E69F-01C2-45AA-ADDD-E56A602EA7A1}" srcOrd="3" destOrd="0" presId="urn:microsoft.com/office/officeart/2005/8/layout/hierarchy3"/>
    <dgm:cxn modelId="{902BABA3-B4B7-45BF-A12E-E7D5D6D6FACA}" type="presParOf" srcId="{8304CACF-20B4-4E75-8A45-F43652792B03}" destId="{3251501F-9DA6-4EB2-9025-506F45A93DFD}" srcOrd="4" destOrd="0" presId="urn:microsoft.com/office/officeart/2005/8/layout/hierarchy3"/>
    <dgm:cxn modelId="{ADD8489D-BD36-4C05-8B32-724A1178DA4D}" type="presParOf" srcId="{8304CACF-20B4-4E75-8A45-F43652792B03}" destId="{12919AB8-2170-4B6F-9551-6E252CD8CE44}" srcOrd="5" destOrd="0" presId="urn:microsoft.com/office/officeart/2005/8/layout/hierarchy3"/>
    <dgm:cxn modelId="{2BEE052A-C1E4-496B-A464-3F0B372B3CBF}" type="presParOf" srcId="{8304CACF-20B4-4E75-8A45-F43652792B03}" destId="{55E2CD92-AD9E-40C8-A5BC-1A47AF157B0C}" srcOrd="6" destOrd="0" presId="urn:microsoft.com/office/officeart/2005/8/layout/hierarchy3"/>
    <dgm:cxn modelId="{6BE02EBF-12D0-4870-A0CD-FC16E4BD8E1D}" type="presParOf" srcId="{8304CACF-20B4-4E75-8A45-F43652792B03}" destId="{766A0D68-1607-41F0-A267-C796415DBEE3}"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BBC204D4-1BDA-49D1-930E-D1CBCF670B7F}">
      <dgm:prSet custT="1"/>
      <dgm:spPr>
        <a:solidFill>
          <a:schemeClr val="accent6">
            <a:lumMod val="75000"/>
            <a:alpha val="30000"/>
          </a:schemeClr>
        </a:solidFill>
        <a:ln>
          <a:noFill/>
        </a:ln>
      </dgm:spPr>
      <dgm:t>
        <a:bodyPr/>
        <a:lstStyle/>
        <a:p>
          <a:r>
            <a:rPr lang="en-US" sz="1200" b="0" i="0" u="none" strike="noStrike" baseline="0">
              <a:solidFill>
                <a:srgbClr val="000000"/>
              </a:solidFill>
              <a:latin typeface="Calibri" panose="020F0502020204030204" pitchFamily="34" charset="0"/>
            </a:rPr>
            <a:t>3.3.5 Identity and Access Managemen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C806884C-CBCD-4CE8-A4C6-25FD1AAF1667}">
      <dgm:prSet custT="1"/>
      <dgm:spPr>
        <a:solidFill>
          <a:schemeClr val="accent6">
            <a:lumMod val="75000"/>
            <a:alpha val="30000"/>
          </a:schemeClr>
        </a:solidFill>
        <a:ln>
          <a:noFill/>
        </a:ln>
      </dgm:spPr>
      <dgm:t>
        <a:bodyPr/>
        <a:lstStyle/>
        <a:p>
          <a:r>
            <a:rPr lang="en-GB" sz="1200">
              <a:solidFill>
                <a:schemeClr val="tx1"/>
              </a:solidFill>
            </a:rPr>
            <a:t>3.3.1 Human Resources</a:t>
          </a: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ACD70CE6-CED8-4A43-B40C-93FA893DF0F7}">
      <dgm:prSet custT="1"/>
      <dgm:spPr>
        <a:solidFill>
          <a:schemeClr val="accent6">
            <a:lumMod val="75000"/>
          </a:schemeClr>
        </a:solidFill>
      </dgm:spPr>
      <dgm: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3 Cyber Security Operations and </a:t>
          </a:r>
          <a:r>
            <a:rPr kumimoji="0" lang="fr-FR" sz="1400" b="1" i="0" u="none" strike="noStrike" kern="1200" cap="none" spc="0" normalizeH="0" baseline="0" noProof="0" err="1">
              <a:ln>
                <a:noFill/>
              </a:ln>
              <a:solidFill>
                <a:prstClr val="white"/>
              </a:solidFill>
              <a:effectLst/>
              <a:uLnTx/>
              <a:uFillTx/>
              <a:latin typeface="Calibri"/>
              <a:ea typeface="+mn-ea"/>
              <a:cs typeface="+mn-cs"/>
            </a:rPr>
            <a:t>Technology</a:t>
          </a:r>
          <a:r>
            <a:rPr kumimoji="0" lang="fr-FR" sz="1400" b="1" i="0" u="none" strike="noStrike" kern="1200" cap="none" spc="0" normalizeH="0" baseline="0" noProof="0">
              <a:ln>
                <a:noFill/>
              </a:ln>
              <a:solidFill>
                <a:prstClr val="white"/>
              </a:solidFill>
              <a:effectLst/>
              <a:uLnTx/>
              <a:uFillTx/>
              <a:latin typeface="Calibri"/>
              <a:ea typeface="+mn-ea"/>
              <a:cs typeface="+mn-cs"/>
            </a:rPr>
            <a:t> </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gm:t>
    </dgm:pt>
    <dgm:pt modelId="{04061FF3-F16C-4DBF-801C-B2AB05204B6B}" type="sibTrans" cxnId="{FCD389B0-AC96-4644-AB78-A2D720A3F242}">
      <dgm:prSet/>
      <dgm:spPr/>
      <dgm:t>
        <a:bodyPr/>
        <a:lstStyle/>
        <a:p>
          <a:endParaRPr lang="en-GB" sz="12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0D7CE86E-4371-4697-B3CB-D1401F5727EE}">
      <dgm:prSet/>
      <dgm:spPr>
        <a:solidFill>
          <a:schemeClr val="accent6">
            <a:lumMod val="75000"/>
            <a:alpha val="30000"/>
          </a:schemeClr>
        </a:solidFill>
        <a:ln>
          <a:noFill/>
        </a:ln>
      </dgm:spPr>
      <dgm:t>
        <a:bodyPr/>
        <a:lstStyle/>
        <a:p>
          <a:r>
            <a:rPr lang="en-GB">
              <a:solidFill>
                <a:schemeClr val="tx1"/>
              </a:solidFill>
            </a:rPr>
            <a:t>3.3.2 Physical Security</a:t>
          </a:r>
        </a:p>
      </dgm:t>
    </dgm:pt>
    <dgm:pt modelId="{BB125605-A859-4809-BC12-31E553AD0E7E}" type="parTrans" cxnId="{42D57E29-8EFD-4C44-8E26-BDF7D0B99D9A}">
      <dgm:prSet/>
      <dgm:spPr/>
      <dgm:t>
        <a:bodyPr/>
        <a:lstStyle/>
        <a:p>
          <a:endParaRPr lang="en-GB"/>
        </a:p>
      </dgm:t>
    </dgm:pt>
    <dgm:pt modelId="{E9724D11-BE83-4C0D-BAD5-C600B2229EEF}" type="sibTrans" cxnId="{42D57E29-8EFD-4C44-8E26-BDF7D0B99D9A}">
      <dgm:prSet/>
      <dgm:spPr/>
      <dgm:t>
        <a:bodyPr/>
        <a:lstStyle/>
        <a:p>
          <a:endParaRPr lang="en-GB"/>
        </a:p>
      </dgm:t>
    </dgm:pt>
    <dgm:pt modelId="{81695021-756A-4439-A4A9-3B98C6B8216F}">
      <dgm:prSet/>
      <dgm:spPr>
        <a:solidFill>
          <a:schemeClr val="accent6">
            <a:lumMod val="75000"/>
            <a:alpha val="30000"/>
          </a:schemeClr>
        </a:solidFill>
        <a:ln>
          <a:noFill/>
        </a:ln>
      </dgm:spPr>
      <dgm:t>
        <a:bodyPr/>
        <a:lstStyle/>
        <a:p>
          <a:r>
            <a:rPr lang="en-GB">
              <a:solidFill>
                <a:schemeClr val="tx1"/>
              </a:solidFill>
            </a:rPr>
            <a:t>3.3.3 Asset Management</a:t>
          </a:r>
        </a:p>
      </dgm:t>
    </dgm:pt>
    <dgm:pt modelId="{17EE60ED-DBF4-460D-82F8-730DCD4D27B2}" type="parTrans" cxnId="{FA66AB36-A35F-42F0-AB81-D6D1908166B8}">
      <dgm:prSet/>
      <dgm:spPr/>
      <dgm:t>
        <a:bodyPr/>
        <a:lstStyle/>
        <a:p>
          <a:endParaRPr lang="en-GB"/>
        </a:p>
      </dgm:t>
    </dgm:pt>
    <dgm:pt modelId="{D6FDA53A-5210-445F-AEF0-14653782662D}" type="sibTrans" cxnId="{FA66AB36-A35F-42F0-AB81-D6D1908166B8}">
      <dgm:prSet/>
      <dgm:spPr/>
      <dgm:t>
        <a:bodyPr/>
        <a:lstStyle/>
        <a:p>
          <a:endParaRPr lang="en-GB"/>
        </a:p>
      </dgm:t>
    </dgm:pt>
    <dgm:pt modelId="{3F6D9C68-00BF-4237-BC8A-A222AA54EFAE}">
      <dgm:prSet/>
      <dgm:spPr>
        <a:solidFill>
          <a:schemeClr val="accent6">
            <a:lumMod val="75000"/>
            <a:alpha val="30000"/>
          </a:schemeClr>
        </a:solidFill>
        <a:ln>
          <a:noFill/>
        </a:ln>
      </dgm:spPr>
      <dgm:t>
        <a:bodyPr/>
        <a:lstStyle/>
        <a:p>
          <a:r>
            <a:rPr lang="en-US">
              <a:solidFill>
                <a:schemeClr val="tx1"/>
              </a:solidFill>
            </a:rPr>
            <a:t>3.3.4 Cyber Security Architecture</a:t>
          </a:r>
          <a:endParaRPr lang="en-GB"/>
        </a:p>
      </dgm:t>
    </dgm:pt>
    <dgm:pt modelId="{5C671CE0-84A7-4C0A-ACEF-5C8B33B31E3B}" type="parTrans" cxnId="{A4055AAA-8F18-45BD-8C44-0D650E2E9B22}">
      <dgm:prSet/>
      <dgm:spPr/>
      <dgm:t>
        <a:bodyPr/>
        <a:lstStyle/>
        <a:p>
          <a:endParaRPr lang="en-GB"/>
        </a:p>
      </dgm:t>
    </dgm:pt>
    <dgm:pt modelId="{CA7BCDD6-4B01-4EAA-9485-AEE42E35307E}" type="sibTrans" cxnId="{A4055AAA-8F18-45BD-8C44-0D650E2E9B22}">
      <dgm:prSet/>
      <dgm:spPr/>
      <dgm:t>
        <a:bodyPr/>
        <a:lstStyle/>
        <a:p>
          <a:endParaRPr lang="en-GB"/>
        </a:p>
      </dgm:t>
    </dgm:pt>
    <dgm:pt modelId="{28F40547-0E2D-4D49-A979-63DC408BF03E}">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6 Application Security</a:t>
          </a:r>
          <a:endParaRPr lang="en-GB">
            <a:solidFill>
              <a:schemeClr val="tx1"/>
            </a:solidFill>
          </a:endParaRPr>
        </a:p>
      </dgm:t>
    </dgm:pt>
    <dgm:pt modelId="{5F58D75B-8AD3-40CE-80CA-A908291C9B31}" type="parTrans" cxnId="{AE5F9B53-AF86-4083-8D8A-A29ECD6E932D}">
      <dgm:prSet/>
      <dgm:spPr/>
      <dgm:t>
        <a:bodyPr/>
        <a:lstStyle/>
        <a:p>
          <a:endParaRPr lang="en-GB"/>
        </a:p>
      </dgm:t>
    </dgm:pt>
    <dgm:pt modelId="{D7CE6629-9E5A-4072-9A87-F13954A99993}" type="sibTrans" cxnId="{AE5F9B53-AF86-4083-8D8A-A29ECD6E932D}">
      <dgm:prSet/>
      <dgm:spPr/>
      <dgm:t>
        <a:bodyPr/>
        <a:lstStyle/>
        <a:p>
          <a:endParaRPr lang="en-GB"/>
        </a:p>
      </dgm:t>
    </dgm:pt>
    <dgm:pt modelId="{84247CE1-D5D8-49C9-B2D3-D9267DCF6632}">
      <dgm:prSet/>
      <dgm:spPr>
        <a:solidFill>
          <a:schemeClr val="accent6">
            <a:lumMod val="75000"/>
            <a:alpha val="30000"/>
          </a:schemeClr>
        </a:solidFill>
        <a:ln>
          <a:noFill/>
        </a:ln>
      </dgm:spPr>
      <dgm:t>
        <a:bodyPr/>
        <a:lstStyle/>
        <a:p>
          <a:r>
            <a:rPr lang="en-GB">
              <a:solidFill>
                <a:schemeClr val="tx1"/>
              </a:solidFill>
            </a:rPr>
            <a:t>3.3.7 Change Management</a:t>
          </a:r>
        </a:p>
      </dgm:t>
    </dgm:pt>
    <dgm:pt modelId="{F0AFEFEF-B724-4A2E-A4F7-1DA5C50EB938}" type="parTrans" cxnId="{9D6F6F11-FFEC-4F71-AC9D-D0B45CAADA0A}">
      <dgm:prSet/>
      <dgm:spPr/>
      <dgm:t>
        <a:bodyPr/>
        <a:lstStyle/>
        <a:p>
          <a:endParaRPr lang="en-GB"/>
        </a:p>
      </dgm:t>
    </dgm:pt>
    <dgm:pt modelId="{8D8C4EF2-59A6-4D32-81CB-4BC74F9FFC2E}" type="sibTrans" cxnId="{9D6F6F11-FFEC-4F71-AC9D-D0B45CAADA0A}">
      <dgm:prSet/>
      <dgm:spPr/>
      <dgm:t>
        <a:bodyPr/>
        <a:lstStyle/>
        <a:p>
          <a:endParaRPr lang="en-GB"/>
        </a:p>
      </dgm:t>
    </dgm:pt>
    <dgm:pt modelId="{9AF15479-2A41-4670-88D7-DA1BAF83159A}">
      <dgm:prSet/>
      <dgm:spPr>
        <a:solidFill>
          <a:schemeClr val="accent6">
            <a:lumMod val="75000"/>
            <a:alpha val="30000"/>
          </a:schemeClr>
        </a:solidFill>
        <a:ln>
          <a:noFill/>
        </a:ln>
      </dgm:spPr>
      <dgm:t>
        <a:bodyPr/>
        <a:lstStyle/>
        <a:p>
          <a:r>
            <a:rPr lang="en-GB">
              <a:solidFill>
                <a:schemeClr val="tx1"/>
              </a:solidFill>
            </a:rPr>
            <a:t>3.3.9 Cryptography</a:t>
          </a:r>
        </a:p>
      </dgm:t>
    </dgm:pt>
    <dgm:pt modelId="{973F327D-237D-43D8-809A-3377BD641B96}" type="parTrans" cxnId="{508706D8-34E1-41DE-8F8C-F51CDC648102}">
      <dgm:prSet/>
      <dgm:spPr/>
      <dgm:t>
        <a:bodyPr/>
        <a:lstStyle/>
        <a:p>
          <a:endParaRPr lang="en-GB"/>
        </a:p>
      </dgm:t>
    </dgm:pt>
    <dgm:pt modelId="{C93BB45F-C996-4BB6-8C35-E12E5273083D}" type="sibTrans" cxnId="{508706D8-34E1-41DE-8F8C-F51CDC648102}">
      <dgm:prSet/>
      <dgm:spPr/>
      <dgm:t>
        <a:bodyPr/>
        <a:lstStyle/>
        <a:p>
          <a:endParaRPr lang="en-GB"/>
        </a:p>
      </dgm:t>
    </dgm:pt>
    <dgm:pt modelId="{7576970D-4841-464A-BE2D-BA51D73E8FF8}">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0 Bring Your Own Device (BYOD)</a:t>
          </a:r>
          <a:endParaRPr lang="en-GB">
            <a:solidFill>
              <a:schemeClr val="tx1"/>
            </a:solidFill>
          </a:endParaRPr>
        </a:p>
      </dgm:t>
    </dgm:pt>
    <dgm:pt modelId="{CAAF7346-BE04-4EA6-AD36-46DE9BDCC32E}" type="parTrans" cxnId="{F6C4CC8B-8539-492E-8769-5B76BDAD2313}">
      <dgm:prSet/>
      <dgm:spPr/>
      <dgm:t>
        <a:bodyPr/>
        <a:lstStyle/>
        <a:p>
          <a:endParaRPr lang="en-GB"/>
        </a:p>
      </dgm:t>
    </dgm:pt>
    <dgm:pt modelId="{0881F559-2BFF-408A-B264-A820554C38C4}" type="sibTrans" cxnId="{F6C4CC8B-8539-492E-8769-5B76BDAD2313}">
      <dgm:prSet/>
      <dgm:spPr/>
      <dgm:t>
        <a:bodyPr/>
        <a:lstStyle/>
        <a:p>
          <a:endParaRPr lang="en-GB"/>
        </a:p>
      </dgm:t>
    </dgm:pt>
    <dgm:pt modelId="{FDA45F9A-2E0E-417A-832E-04AD433A2AEC}">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1 Secure Disposal of Information Assets</a:t>
          </a:r>
          <a:endParaRPr lang="en-GB">
            <a:solidFill>
              <a:schemeClr val="tx1"/>
            </a:solidFill>
          </a:endParaRPr>
        </a:p>
      </dgm:t>
    </dgm:pt>
    <dgm:pt modelId="{F76BE9AC-47A1-49DF-9E4B-C13E95B4BA2B}" type="parTrans" cxnId="{C3D92CBE-E2DE-4F1B-BDC4-B520678B32E2}">
      <dgm:prSet/>
      <dgm:spPr/>
      <dgm:t>
        <a:bodyPr/>
        <a:lstStyle/>
        <a:p>
          <a:endParaRPr lang="en-GB"/>
        </a:p>
      </dgm:t>
    </dgm:pt>
    <dgm:pt modelId="{41F4114E-D130-4875-B29E-332D6D477E92}" type="sibTrans" cxnId="{C3D92CBE-E2DE-4F1B-BDC4-B520678B32E2}">
      <dgm:prSet/>
      <dgm:spPr/>
      <dgm:t>
        <a:bodyPr/>
        <a:lstStyle/>
        <a:p>
          <a:endParaRPr lang="en-GB"/>
        </a:p>
      </dgm:t>
    </dgm:pt>
    <dgm:pt modelId="{FA264B2B-E47E-4C4C-9AB5-6B81B4B23472}">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2 Payment Systems</a:t>
          </a:r>
          <a:endParaRPr lang="en-GB"/>
        </a:p>
      </dgm:t>
    </dgm:pt>
    <dgm:pt modelId="{7FD0C975-04A3-45A6-8826-6FC2D40F9BB0}" type="parTrans" cxnId="{3BA3CDDF-78EF-4D6F-83E8-FFDAB2A049B5}">
      <dgm:prSet/>
      <dgm:spPr/>
      <dgm:t>
        <a:bodyPr/>
        <a:lstStyle/>
        <a:p>
          <a:endParaRPr lang="en-GB"/>
        </a:p>
      </dgm:t>
    </dgm:pt>
    <dgm:pt modelId="{BFEDF4C8-1414-42FE-9EEA-49C2A1EE7569}" type="sibTrans" cxnId="{3BA3CDDF-78EF-4D6F-83E8-FFDAB2A049B5}">
      <dgm:prSet/>
      <dgm:spPr/>
      <dgm:t>
        <a:bodyPr/>
        <a:lstStyle/>
        <a:p>
          <a:endParaRPr lang="en-GB"/>
        </a:p>
      </dgm:t>
    </dgm:pt>
    <dgm:pt modelId="{5182FA30-C01A-44F5-A64F-760E81F1D51D}">
      <dgm:prSet/>
      <dgm:spPr>
        <a:solidFill>
          <a:schemeClr val="accent6">
            <a:lumMod val="75000"/>
            <a:alpha val="30000"/>
          </a:schemeClr>
        </a:solidFill>
        <a:ln>
          <a:noFill/>
        </a:ln>
      </dgm:spPr>
      <dgm:t>
        <a:bodyPr/>
        <a:lstStyle/>
        <a:p>
          <a:r>
            <a:rPr lang="en-GB">
              <a:solidFill>
                <a:srgbClr val="000000"/>
              </a:solidFill>
              <a:latin typeface="Calibri"/>
            </a:rPr>
            <a:t>3.3.13 Electronic Banking Services</a:t>
          </a:r>
          <a:endParaRPr lang="en-GB">
            <a:solidFill>
              <a:schemeClr val="tx1"/>
            </a:solidFill>
          </a:endParaRPr>
        </a:p>
      </dgm:t>
    </dgm:pt>
    <dgm:pt modelId="{B31FE65E-42B5-486A-951E-5A0F2665882F}" type="parTrans" cxnId="{0DA52C5D-5595-463A-820F-1EE35D215BF5}">
      <dgm:prSet/>
      <dgm:spPr/>
      <dgm:t>
        <a:bodyPr/>
        <a:lstStyle/>
        <a:p>
          <a:endParaRPr lang="en-GB"/>
        </a:p>
      </dgm:t>
    </dgm:pt>
    <dgm:pt modelId="{57B600E6-00A6-4933-831B-FC96DB96E5C9}" type="sibTrans" cxnId="{0DA52C5D-5595-463A-820F-1EE35D215BF5}">
      <dgm:prSet/>
      <dgm:spPr/>
      <dgm:t>
        <a:bodyPr/>
        <a:lstStyle/>
        <a:p>
          <a:endParaRPr lang="en-GB"/>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52747"/>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12"/>
      <dgm:spPr/>
    </dgm:pt>
    <dgm:pt modelId="{2E5437AB-B759-40C3-9F13-A013EA3F4F8A}" type="pres">
      <dgm:prSet presAssocID="{C806884C-CBCD-4CE8-A4C6-25FD1AAF1667}" presName="childText" presStyleLbl="bgAcc1" presStyleIdx="0" presStyleCnt="12" custScaleX="310602">
        <dgm:presLayoutVars>
          <dgm:bulletEnabled val="1"/>
        </dgm:presLayoutVars>
      </dgm:prSet>
      <dgm:spPr/>
    </dgm:pt>
    <dgm:pt modelId="{75C1689C-A102-40CB-B27B-68EA8FA2A959}" type="pres">
      <dgm:prSet presAssocID="{BB125605-A859-4809-BC12-31E553AD0E7E}" presName="Name13" presStyleLbl="parChTrans1D2" presStyleIdx="1" presStyleCnt="12"/>
      <dgm:spPr/>
    </dgm:pt>
    <dgm:pt modelId="{F6EA8C61-3FE3-40B2-9382-F6FF594388CD}" type="pres">
      <dgm:prSet presAssocID="{0D7CE86E-4371-4697-B3CB-D1401F5727EE}" presName="childText" presStyleLbl="bgAcc1" presStyleIdx="1" presStyleCnt="12" custScaleX="310602">
        <dgm:presLayoutVars>
          <dgm:bulletEnabled val="1"/>
        </dgm:presLayoutVars>
      </dgm:prSet>
      <dgm:spPr/>
    </dgm:pt>
    <dgm:pt modelId="{F0F5B2CB-EC7A-4729-A8A0-CCE1832F9977}" type="pres">
      <dgm:prSet presAssocID="{17EE60ED-DBF4-460D-82F8-730DCD4D27B2}" presName="Name13" presStyleLbl="parChTrans1D2" presStyleIdx="2" presStyleCnt="12"/>
      <dgm:spPr/>
    </dgm:pt>
    <dgm:pt modelId="{E00C9E4F-E890-44DF-B1B9-EE137EE26833}" type="pres">
      <dgm:prSet presAssocID="{81695021-756A-4439-A4A9-3B98C6B8216F}" presName="childText" presStyleLbl="bgAcc1" presStyleIdx="2" presStyleCnt="12" custScaleX="310602">
        <dgm:presLayoutVars>
          <dgm:bulletEnabled val="1"/>
        </dgm:presLayoutVars>
      </dgm:prSet>
      <dgm:spPr/>
    </dgm:pt>
    <dgm:pt modelId="{BFF80328-C787-4CF5-9F7F-E4FE96C0F05D}" type="pres">
      <dgm:prSet presAssocID="{5C671CE0-84A7-4C0A-ACEF-5C8B33B31E3B}" presName="Name13" presStyleLbl="parChTrans1D2" presStyleIdx="3" presStyleCnt="12"/>
      <dgm:spPr/>
    </dgm:pt>
    <dgm:pt modelId="{F3DE6563-A688-4E43-B7BC-7751F768749C}" type="pres">
      <dgm:prSet presAssocID="{3F6D9C68-00BF-4237-BC8A-A222AA54EFAE}" presName="childText" presStyleLbl="bgAcc1" presStyleIdx="3" presStyleCnt="12" custScaleX="310602">
        <dgm:presLayoutVars>
          <dgm:bulletEnabled val="1"/>
        </dgm:presLayoutVars>
      </dgm:prSet>
      <dgm:spPr/>
    </dgm:pt>
    <dgm:pt modelId="{187FC86E-8BAF-4D13-93CC-7BCD000E8A83}" type="pres">
      <dgm:prSet presAssocID="{2911194B-1CDC-46CE-8844-E3B0F6A7153F}" presName="Name13" presStyleLbl="parChTrans1D2" presStyleIdx="4" presStyleCnt="12"/>
      <dgm:spPr/>
    </dgm:pt>
    <dgm:pt modelId="{DA2AE177-2927-4FD2-90CE-DED2686D2A2E}" type="pres">
      <dgm:prSet presAssocID="{BBC204D4-1BDA-49D1-930E-D1CBCF670B7F}" presName="childText" presStyleLbl="bgAcc1" presStyleIdx="4" presStyleCnt="12" custScaleX="310602">
        <dgm:presLayoutVars>
          <dgm:bulletEnabled val="1"/>
        </dgm:presLayoutVars>
      </dgm:prSet>
      <dgm:spPr/>
    </dgm:pt>
    <dgm:pt modelId="{398C9C10-62BF-4F8B-A935-EB735D076568}" type="pres">
      <dgm:prSet presAssocID="{5F58D75B-8AD3-40CE-80CA-A908291C9B31}" presName="Name13" presStyleLbl="parChTrans1D2" presStyleIdx="5" presStyleCnt="12"/>
      <dgm:spPr/>
    </dgm:pt>
    <dgm:pt modelId="{7AE0F236-EDEA-4EB3-BECD-2981E53A2DC9}" type="pres">
      <dgm:prSet presAssocID="{28F40547-0E2D-4D49-A979-63DC408BF03E}" presName="childText" presStyleLbl="bgAcc1" presStyleIdx="5" presStyleCnt="12" custScaleX="310602">
        <dgm:presLayoutVars>
          <dgm:bulletEnabled val="1"/>
        </dgm:presLayoutVars>
      </dgm:prSet>
      <dgm:spPr/>
    </dgm:pt>
    <dgm:pt modelId="{E1B3BB4A-0FA0-4F82-ACC8-45956CB57BAA}" type="pres">
      <dgm:prSet presAssocID="{F0AFEFEF-B724-4A2E-A4F7-1DA5C50EB938}" presName="Name13" presStyleLbl="parChTrans1D2" presStyleIdx="6" presStyleCnt="12"/>
      <dgm:spPr/>
    </dgm:pt>
    <dgm:pt modelId="{449B9BE2-429C-423A-8BD4-2FF22EE65203}" type="pres">
      <dgm:prSet presAssocID="{84247CE1-D5D8-49C9-B2D3-D9267DCF6632}" presName="childText" presStyleLbl="bgAcc1" presStyleIdx="6" presStyleCnt="12" custScaleX="310602">
        <dgm:presLayoutVars>
          <dgm:bulletEnabled val="1"/>
        </dgm:presLayoutVars>
      </dgm:prSet>
      <dgm:spPr/>
    </dgm:pt>
    <dgm:pt modelId="{B1316C1A-9F07-423E-9A47-AF4E6242D000}" type="pres">
      <dgm:prSet presAssocID="{973F327D-237D-43D8-809A-3377BD641B96}" presName="Name13" presStyleLbl="parChTrans1D2" presStyleIdx="7" presStyleCnt="12"/>
      <dgm:spPr/>
    </dgm:pt>
    <dgm:pt modelId="{4DDF2A54-9AA8-4A50-9170-2A0D20D1DE69}" type="pres">
      <dgm:prSet presAssocID="{9AF15479-2A41-4670-88D7-DA1BAF83159A}" presName="childText" presStyleLbl="bgAcc1" presStyleIdx="7" presStyleCnt="12" custScaleX="310602" custScaleY="83333">
        <dgm:presLayoutVars>
          <dgm:bulletEnabled val="1"/>
        </dgm:presLayoutVars>
      </dgm:prSet>
      <dgm:spPr/>
    </dgm:pt>
    <dgm:pt modelId="{A8CF1C19-15ED-4C74-8447-81938BA85F0D}" type="pres">
      <dgm:prSet presAssocID="{CAAF7346-BE04-4EA6-AD36-46DE9BDCC32E}" presName="Name13" presStyleLbl="parChTrans1D2" presStyleIdx="8" presStyleCnt="12"/>
      <dgm:spPr/>
    </dgm:pt>
    <dgm:pt modelId="{B050DACE-C5E6-46C4-8A5B-E14E09E65EE3}" type="pres">
      <dgm:prSet presAssocID="{7576970D-4841-464A-BE2D-BA51D73E8FF8}" presName="childText" presStyleLbl="bgAcc1" presStyleIdx="8" presStyleCnt="12" custScaleX="310602">
        <dgm:presLayoutVars>
          <dgm:bulletEnabled val="1"/>
        </dgm:presLayoutVars>
      </dgm:prSet>
      <dgm:spPr/>
    </dgm:pt>
    <dgm:pt modelId="{54F24787-7FF2-4801-9E98-FA730DAF1E8D}" type="pres">
      <dgm:prSet presAssocID="{F76BE9AC-47A1-49DF-9E4B-C13E95B4BA2B}" presName="Name13" presStyleLbl="parChTrans1D2" presStyleIdx="9" presStyleCnt="12"/>
      <dgm:spPr/>
    </dgm:pt>
    <dgm:pt modelId="{187636BC-225D-465F-8730-7F23FDC3F087}" type="pres">
      <dgm:prSet presAssocID="{FDA45F9A-2E0E-417A-832E-04AD433A2AEC}" presName="childText" presStyleLbl="bgAcc1" presStyleIdx="9" presStyleCnt="12" custScaleX="310602">
        <dgm:presLayoutVars>
          <dgm:bulletEnabled val="1"/>
        </dgm:presLayoutVars>
      </dgm:prSet>
      <dgm:spPr/>
    </dgm:pt>
    <dgm:pt modelId="{707A20C8-002D-430A-A705-8D9E0652EB20}" type="pres">
      <dgm:prSet presAssocID="{B31FE65E-42B5-486A-951E-5A0F2665882F}" presName="Name13" presStyleLbl="parChTrans1D2" presStyleIdx="10" presStyleCnt="12"/>
      <dgm:spPr/>
    </dgm:pt>
    <dgm:pt modelId="{692F7315-6766-4C20-925B-181D806E501E}" type="pres">
      <dgm:prSet presAssocID="{5182FA30-C01A-44F5-A64F-760E81F1D51D}" presName="childText" presStyleLbl="bgAcc1" presStyleIdx="10" presStyleCnt="12" custScaleX="308559">
        <dgm:presLayoutVars>
          <dgm:bulletEnabled val="1"/>
        </dgm:presLayoutVars>
      </dgm:prSet>
      <dgm:spPr/>
    </dgm:pt>
    <dgm:pt modelId="{45E8CDD4-6326-457A-968A-32C49FCC7893}" type="pres">
      <dgm:prSet presAssocID="{7FD0C975-04A3-45A6-8826-6FC2D40F9BB0}" presName="Name13" presStyleLbl="parChTrans1D2" presStyleIdx="11" presStyleCnt="12"/>
      <dgm:spPr/>
    </dgm:pt>
    <dgm:pt modelId="{0FC1438C-711A-479D-AFBA-A3BB6B4240A3}" type="pres">
      <dgm:prSet presAssocID="{FA264B2B-E47E-4C4C-9AB5-6B81B4B23472}" presName="childText" presStyleLbl="bgAcc1" presStyleIdx="11" presStyleCnt="12" custScaleX="310602">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244A7C07-E9A8-416A-9726-63D3C85F396D}" type="presOf" srcId="{9AF15479-2A41-4670-88D7-DA1BAF83159A}" destId="{4DDF2A54-9AA8-4A50-9170-2A0D20D1DE69}" srcOrd="0" destOrd="0" presId="urn:microsoft.com/office/officeart/2005/8/layout/hierarchy3"/>
    <dgm:cxn modelId="{9D6F6F11-FFEC-4F71-AC9D-D0B45CAADA0A}" srcId="{ACD70CE6-CED8-4A43-B40C-93FA893DF0F7}" destId="{84247CE1-D5D8-49C9-B2D3-D9267DCF6632}" srcOrd="6" destOrd="0" parTransId="{F0AFEFEF-B724-4A2E-A4F7-1DA5C50EB938}" sibTransId="{8D8C4EF2-59A6-4D32-81CB-4BC74F9FFC2E}"/>
    <dgm:cxn modelId="{9D3DF324-D89A-4081-98FD-948F6214D86B}" type="presOf" srcId="{F76BE9AC-47A1-49DF-9E4B-C13E95B4BA2B}" destId="{54F24787-7FF2-4801-9E98-FA730DAF1E8D}" srcOrd="0" destOrd="0" presId="urn:microsoft.com/office/officeart/2005/8/layout/hierarchy3"/>
    <dgm:cxn modelId="{8BC8B926-C009-42A7-BAAA-1EFBC39F0198}" type="presOf" srcId="{7576970D-4841-464A-BE2D-BA51D73E8FF8}" destId="{B050DACE-C5E6-46C4-8A5B-E14E09E65EE3}" srcOrd="0" destOrd="0" presId="urn:microsoft.com/office/officeart/2005/8/layout/hierarchy3"/>
    <dgm:cxn modelId="{4D61D827-41D6-4D69-9E70-FE981CA3BE06}" type="presOf" srcId="{BB125605-A859-4809-BC12-31E553AD0E7E}" destId="{75C1689C-A102-40CB-B27B-68EA8FA2A959}" srcOrd="0" destOrd="0" presId="urn:microsoft.com/office/officeart/2005/8/layout/hierarchy3"/>
    <dgm:cxn modelId="{42D57E29-8EFD-4C44-8E26-BDF7D0B99D9A}" srcId="{ACD70CE6-CED8-4A43-B40C-93FA893DF0F7}" destId="{0D7CE86E-4371-4697-B3CB-D1401F5727EE}" srcOrd="1" destOrd="0" parTransId="{BB125605-A859-4809-BC12-31E553AD0E7E}" sibTransId="{E9724D11-BE83-4C0D-BAD5-C600B2229EEF}"/>
    <dgm:cxn modelId="{B47BC02C-AFEE-44E7-A4C2-DB6ACEDB9EE6}" type="presOf" srcId="{5F58D75B-8AD3-40CE-80CA-A908291C9B31}" destId="{398C9C10-62BF-4F8B-A935-EB735D076568}" srcOrd="0" destOrd="0" presId="urn:microsoft.com/office/officeart/2005/8/layout/hierarchy3"/>
    <dgm:cxn modelId="{C87D292E-5DEB-4816-B160-674D15C43519}" type="presOf" srcId="{5182FA30-C01A-44F5-A64F-760E81F1D51D}" destId="{692F7315-6766-4C20-925B-181D806E501E}" srcOrd="0" destOrd="0" presId="urn:microsoft.com/office/officeart/2005/8/layout/hierarchy3"/>
    <dgm:cxn modelId="{365DAB2E-9B9A-42C9-A667-67A64A75C8D6}" type="presOf" srcId="{B31FE65E-42B5-486A-951E-5A0F2665882F}" destId="{707A20C8-002D-430A-A705-8D9E0652EB20}" srcOrd="0" destOrd="0" presId="urn:microsoft.com/office/officeart/2005/8/layout/hierarchy3"/>
    <dgm:cxn modelId="{FA66AB36-A35F-42F0-AB81-D6D1908166B8}" srcId="{ACD70CE6-CED8-4A43-B40C-93FA893DF0F7}" destId="{81695021-756A-4439-A4A9-3B98C6B8216F}" srcOrd="2" destOrd="0" parTransId="{17EE60ED-DBF4-460D-82F8-730DCD4D27B2}" sibTransId="{D6FDA53A-5210-445F-AEF0-14653782662D}"/>
    <dgm:cxn modelId="{0DA52C5D-5595-463A-820F-1EE35D215BF5}" srcId="{ACD70CE6-CED8-4A43-B40C-93FA893DF0F7}" destId="{5182FA30-C01A-44F5-A64F-760E81F1D51D}" srcOrd="10" destOrd="0" parTransId="{B31FE65E-42B5-486A-951E-5A0F2665882F}" sibTransId="{57B600E6-00A6-4933-831B-FC96DB96E5C9}"/>
    <dgm:cxn modelId="{1BB2495D-4334-4CBC-8B1D-921FFDC8BFF7}" type="presOf" srcId="{84247CE1-D5D8-49C9-B2D3-D9267DCF6632}" destId="{449B9BE2-429C-423A-8BD4-2FF22EE65203}" srcOrd="0" destOrd="0" presId="urn:microsoft.com/office/officeart/2005/8/layout/hierarchy3"/>
    <dgm:cxn modelId="{1165A267-CF01-4C88-97C6-FD255A130151}" type="presOf" srcId="{17EE60ED-DBF4-460D-82F8-730DCD4D27B2}" destId="{F0F5B2CB-EC7A-4729-A8A0-CCE1832F9977}" srcOrd="0" destOrd="0" presId="urn:microsoft.com/office/officeart/2005/8/layout/hierarchy3"/>
    <dgm:cxn modelId="{245CB147-9D2E-48EE-AA31-586DD06D1C91}" type="presOf" srcId="{C13D4231-302B-48B0-97C7-E9C939E27344}" destId="{21BBA50E-DC8E-4CBB-89B9-5B8869409D70}" srcOrd="0" destOrd="0" presId="urn:microsoft.com/office/officeart/2005/8/layout/hierarchy3"/>
    <dgm:cxn modelId="{0F0EF948-41CD-4D06-B73C-3FAF672F1E7A}" type="presOf" srcId="{CAAF7346-BE04-4EA6-AD36-46DE9BDCC32E}" destId="{A8CF1C19-15ED-4C74-8447-81938BA85F0D}" srcOrd="0" destOrd="0" presId="urn:microsoft.com/office/officeart/2005/8/layout/hierarchy3"/>
    <dgm:cxn modelId="{4630846C-D207-4F2A-A7DC-735F67889E14}" type="presOf" srcId="{28F40547-0E2D-4D49-A979-63DC408BF03E}" destId="{7AE0F236-EDEA-4EB3-BECD-2981E53A2DC9}" srcOrd="0" destOrd="0" presId="urn:microsoft.com/office/officeart/2005/8/layout/hierarchy3"/>
    <dgm:cxn modelId="{EB830E71-D135-441D-AA82-016F2491D8DD}" type="presOf" srcId="{0D7CE86E-4371-4697-B3CB-D1401F5727EE}" destId="{F6EA8C61-3FE3-40B2-9382-F6FF594388CD}" srcOrd="0" destOrd="0" presId="urn:microsoft.com/office/officeart/2005/8/layout/hierarchy3"/>
    <dgm:cxn modelId="{AE5F9B53-AF86-4083-8D8A-A29ECD6E932D}" srcId="{ACD70CE6-CED8-4A43-B40C-93FA893DF0F7}" destId="{28F40547-0E2D-4D49-A979-63DC408BF03E}" srcOrd="5" destOrd="0" parTransId="{5F58D75B-8AD3-40CE-80CA-A908291C9B31}" sibTransId="{D7CE6629-9E5A-4072-9A87-F13954A99993}"/>
    <dgm:cxn modelId="{6880FF54-93C4-4A33-9C4D-50B65C5532D9}" type="presOf" srcId="{7FD0C975-04A3-45A6-8826-6FC2D40F9BB0}" destId="{45E8CDD4-6326-457A-968A-32C49FCC7893}" srcOrd="0" destOrd="0" presId="urn:microsoft.com/office/officeart/2005/8/layout/hierarchy3"/>
    <dgm:cxn modelId="{2AE54C76-0250-4F18-BF4A-A21CFDC1DAF7}" type="presOf" srcId="{F0AFEFEF-B724-4A2E-A4F7-1DA5C50EB938}" destId="{E1B3BB4A-0FA0-4F82-ACC8-45956CB57BAA}" srcOrd="0" destOrd="0" presId="urn:microsoft.com/office/officeart/2005/8/layout/hierarchy3"/>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A8526A7B-4B6A-4B43-9DFF-1A95BB61EC1E}" type="presOf" srcId="{5C671CE0-84A7-4C0A-ACEF-5C8B33B31E3B}" destId="{BFF80328-C787-4CF5-9F7F-E4FE96C0F05D}"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F6C4CC8B-8539-492E-8769-5B76BDAD2313}" srcId="{ACD70CE6-CED8-4A43-B40C-93FA893DF0F7}" destId="{7576970D-4841-464A-BE2D-BA51D73E8FF8}" srcOrd="8" destOrd="0" parTransId="{CAAF7346-BE04-4EA6-AD36-46DE9BDCC32E}" sibTransId="{0881F559-2BFF-408A-B264-A820554C38C4}"/>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9A02969E-FDF7-4FEE-8260-CEB5DF90D10E}" type="presOf" srcId="{81695021-756A-4439-A4A9-3B98C6B8216F}" destId="{E00C9E4F-E890-44DF-B1B9-EE137EE26833}" srcOrd="0" destOrd="0" presId="urn:microsoft.com/office/officeart/2005/8/layout/hierarchy3"/>
    <dgm:cxn modelId="{971D22A6-2FA9-45FF-9A7D-9EB1150B90BE}" type="presOf" srcId="{BBC204D4-1BDA-49D1-930E-D1CBCF670B7F}" destId="{DA2AE177-2927-4FD2-90CE-DED2686D2A2E}" srcOrd="0" destOrd="0" presId="urn:microsoft.com/office/officeart/2005/8/layout/hierarchy3"/>
    <dgm:cxn modelId="{A4055AAA-8F18-45BD-8C44-0D650E2E9B22}" srcId="{ACD70CE6-CED8-4A43-B40C-93FA893DF0F7}" destId="{3F6D9C68-00BF-4237-BC8A-A222AA54EFAE}" srcOrd="3" destOrd="0" parTransId="{5C671CE0-84A7-4C0A-ACEF-5C8B33B31E3B}" sibTransId="{CA7BCDD6-4B01-4EAA-9485-AEE42E35307E}"/>
    <dgm:cxn modelId="{4CE1F6AC-799A-4BF4-B003-54C50FECAECE}" type="presOf" srcId="{FDA45F9A-2E0E-417A-832E-04AD433A2AEC}" destId="{187636BC-225D-465F-8730-7F23FDC3F087}" srcOrd="0" destOrd="0" presId="urn:microsoft.com/office/officeart/2005/8/layout/hierarchy3"/>
    <dgm:cxn modelId="{FCD389B0-AC96-4644-AB78-A2D720A3F242}" srcId="{1BD78650-2358-4AFA-9F0E-97678F2776BA}" destId="{ACD70CE6-CED8-4A43-B40C-93FA893DF0F7}" srcOrd="0" destOrd="0" parTransId="{3E51B8E0-9310-4DBF-938B-6FE435A70273}" sibTransId="{04061FF3-F16C-4DBF-801C-B2AB05204B6B}"/>
    <dgm:cxn modelId="{C3D92CBE-E2DE-4F1B-BDC4-B520678B32E2}" srcId="{ACD70CE6-CED8-4A43-B40C-93FA893DF0F7}" destId="{FDA45F9A-2E0E-417A-832E-04AD433A2AEC}" srcOrd="9" destOrd="0" parTransId="{F76BE9AC-47A1-49DF-9E4B-C13E95B4BA2B}" sibTransId="{41F4114E-D130-4875-B29E-332D6D477E92}"/>
    <dgm:cxn modelId="{4FE4FFC2-33A7-43CA-B35B-B1EC18907B3E}" type="presOf" srcId="{3F6D9C68-00BF-4237-BC8A-A222AA54EFAE}" destId="{F3DE6563-A688-4E43-B7BC-7751F768749C}" srcOrd="0" destOrd="0" presId="urn:microsoft.com/office/officeart/2005/8/layout/hierarchy3"/>
    <dgm:cxn modelId="{508706D8-34E1-41DE-8F8C-F51CDC648102}" srcId="{ACD70CE6-CED8-4A43-B40C-93FA893DF0F7}" destId="{9AF15479-2A41-4670-88D7-DA1BAF83159A}" srcOrd="7" destOrd="0" parTransId="{973F327D-237D-43D8-809A-3377BD641B96}" sibTransId="{C93BB45F-C996-4BB6-8C35-E12E5273083D}"/>
    <dgm:cxn modelId="{3BA3CDDF-78EF-4D6F-83E8-FFDAB2A049B5}" srcId="{ACD70CE6-CED8-4A43-B40C-93FA893DF0F7}" destId="{FA264B2B-E47E-4C4C-9AB5-6B81B4B23472}" srcOrd="11" destOrd="0" parTransId="{7FD0C975-04A3-45A6-8826-6FC2D40F9BB0}" sibTransId="{BFEDF4C8-1414-42FE-9EEA-49C2A1EE7569}"/>
    <dgm:cxn modelId="{965A9DE2-E25A-4D11-B42A-5C997B00C2C3}" type="presOf" srcId="{2911194B-1CDC-46CE-8844-E3B0F6A7153F}" destId="{187FC86E-8BAF-4D13-93CC-7BCD000E8A83}" srcOrd="0" destOrd="0" presId="urn:microsoft.com/office/officeart/2005/8/layout/hierarchy3"/>
    <dgm:cxn modelId="{B10978E9-63B6-4A48-8E3C-AC4993DFB790}" type="presOf" srcId="{FA264B2B-E47E-4C4C-9AB5-6B81B4B23472}" destId="{0FC1438C-711A-479D-AFBA-A3BB6B4240A3}" srcOrd="0" destOrd="0" presId="urn:microsoft.com/office/officeart/2005/8/layout/hierarchy3"/>
    <dgm:cxn modelId="{443C62F7-226A-4A49-ACD5-987DE672DEC2}" type="presOf" srcId="{973F327D-237D-43D8-809A-3377BD641B96}" destId="{B1316C1A-9F07-423E-9A47-AF4E6242D000}"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85E63BE6-56A5-4515-BEFF-462E1E96854C}" type="presParOf" srcId="{8304CACF-20B4-4E75-8A45-F43652792B03}" destId="{75C1689C-A102-40CB-B27B-68EA8FA2A959}" srcOrd="2" destOrd="0" presId="urn:microsoft.com/office/officeart/2005/8/layout/hierarchy3"/>
    <dgm:cxn modelId="{7950FA9C-3086-4480-A820-02744C6984F8}" type="presParOf" srcId="{8304CACF-20B4-4E75-8A45-F43652792B03}" destId="{F6EA8C61-3FE3-40B2-9382-F6FF594388CD}" srcOrd="3" destOrd="0" presId="urn:microsoft.com/office/officeart/2005/8/layout/hierarchy3"/>
    <dgm:cxn modelId="{20494532-710A-4F5E-BCAB-2510CEF63280}" type="presParOf" srcId="{8304CACF-20B4-4E75-8A45-F43652792B03}" destId="{F0F5B2CB-EC7A-4729-A8A0-CCE1832F9977}" srcOrd="4" destOrd="0" presId="urn:microsoft.com/office/officeart/2005/8/layout/hierarchy3"/>
    <dgm:cxn modelId="{A189E44F-9C66-4B70-AB6A-AA259F8C341A}" type="presParOf" srcId="{8304CACF-20B4-4E75-8A45-F43652792B03}" destId="{E00C9E4F-E890-44DF-B1B9-EE137EE26833}" srcOrd="5" destOrd="0" presId="urn:microsoft.com/office/officeart/2005/8/layout/hierarchy3"/>
    <dgm:cxn modelId="{D744358F-7D25-477A-93A0-0A758C2512BF}" type="presParOf" srcId="{8304CACF-20B4-4E75-8A45-F43652792B03}" destId="{BFF80328-C787-4CF5-9F7F-E4FE96C0F05D}" srcOrd="6" destOrd="0" presId="urn:microsoft.com/office/officeart/2005/8/layout/hierarchy3"/>
    <dgm:cxn modelId="{0D449F73-6108-4729-8BFE-EA3AA9CE7ED8}" type="presParOf" srcId="{8304CACF-20B4-4E75-8A45-F43652792B03}" destId="{F3DE6563-A688-4E43-B7BC-7751F768749C}"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 modelId="{4CF753F8-739D-47BF-B7F1-E1558E9012D8}" type="presParOf" srcId="{8304CACF-20B4-4E75-8A45-F43652792B03}" destId="{398C9C10-62BF-4F8B-A935-EB735D076568}" srcOrd="10" destOrd="0" presId="urn:microsoft.com/office/officeart/2005/8/layout/hierarchy3"/>
    <dgm:cxn modelId="{BD812A42-EA8C-4A48-879A-07E4BD2E4C7B}" type="presParOf" srcId="{8304CACF-20B4-4E75-8A45-F43652792B03}" destId="{7AE0F236-EDEA-4EB3-BECD-2981E53A2DC9}" srcOrd="11" destOrd="0" presId="urn:microsoft.com/office/officeart/2005/8/layout/hierarchy3"/>
    <dgm:cxn modelId="{2E5FE580-4AF5-4447-A21C-1B6E46502DB2}" type="presParOf" srcId="{8304CACF-20B4-4E75-8A45-F43652792B03}" destId="{E1B3BB4A-0FA0-4F82-ACC8-45956CB57BAA}" srcOrd="12" destOrd="0" presId="urn:microsoft.com/office/officeart/2005/8/layout/hierarchy3"/>
    <dgm:cxn modelId="{0D7EA91E-EFA3-454F-A0DF-E3EDD63B7EDE}" type="presParOf" srcId="{8304CACF-20B4-4E75-8A45-F43652792B03}" destId="{449B9BE2-429C-423A-8BD4-2FF22EE65203}" srcOrd="13" destOrd="0" presId="urn:microsoft.com/office/officeart/2005/8/layout/hierarchy3"/>
    <dgm:cxn modelId="{EBB185F8-F052-4A62-A1F4-7032AA4F9121}" type="presParOf" srcId="{8304CACF-20B4-4E75-8A45-F43652792B03}" destId="{B1316C1A-9F07-423E-9A47-AF4E6242D000}" srcOrd="14" destOrd="0" presId="urn:microsoft.com/office/officeart/2005/8/layout/hierarchy3"/>
    <dgm:cxn modelId="{2506DB08-F39B-4350-B65A-66906451D128}" type="presParOf" srcId="{8304CACF-20B4-4E75-8A45-F43652792B03}" destId="{4DDF2A54-9AA8-4A50-9170-2A0D20D1DE69}" srcOrd="15" destOrd="0" presId="urn:microsoft.com/office/officeart/2005/8/layout/hierarchy3"/>
    <dgm:cxn modelId="{317CEFC2-D2B5-493F-8B7E-A4EF468BCD29}" type="presParOf" srcId="{8304CACF-20B4-4E75-8A45-F43652792B03}" destId="{A8CF1C19-15ED-4C74-8447-81938BA85F0D}" srcOrd="16" destOrd="0" presId="urn:microsoft.com/office/officeart/2005/8/layout/hierarchy3"/>
    <dgm:cxn modelId="{38A78677-4748-4CCA-AF6B-9A7C4A531C50}" type="presParOf" srcId="{8304CACF-20B4-4E75-8A45-F43652792B03}" destId="{B050DACE-C5E6-46C4-8A5B-E14E09E65EE3}" srcOrd="17" destOrd="0" presId="urn:microsoft.com/office/officeart/2005/8/layout/hierarchy3"/>
    <dgm:cxn modelId="{C5454058-1A6E-47AD-A899-167FB179C48F}" type="presParOf" srcId="{8304CACF-20B4-4E75-8A45-F43652792B03}" destId="{54F24787-7FF2-4801-9E98-FA730DAF1E8D}" srcOrd="18" destOrd="0" presId="urn:microsoft.com/office/officeart/2005/8/layout/hierarchy3"/>
    <dgm:cxn modelId="{47C907C7-7EA9-4018-B782-D3E4E26A44BA}" type="presParOf" srcId="{8304CACF-20B4-4E75-8A45-F43652792B03}" destId="{187636BC-225D-465F-8730-7F23FDC3F087}" srcOrd="19" destOrd="0" presId="urn:microsoft.com/office/officeart/2005/8/layout/hierarchy3"/>
    <dgm:cxn modelId="{644541D2-12B9-428D-95BD-E15927E6268E}" type="presParOf" srcId="{8304CACF-20B4-4E75-8A45-F43652792B03}" destId="{707A20C8-002D-430A-A705-8D9E0652EB20}" srcOrd="20" destOrd="0" presId="urn:microsoft.com/office/officeart/2005/8/layout/hierarchy3"/>
    <dgm:cxn modelId="{D7928A47-1791-4E51-A7CF-3870F540B71A}" type="presParOf" srcId="{8304CACF-20B4-4E75-8A45-F43652792B03}" destId="{692F7315-6766-4C20-925B-181D806E501E}" srcOrd="21" destOrd="0" presId="urn:microsoft.com/office/officeart/2005/8/layout/hierarchy3"/>
    <dgm:cxn modelId="{F3EAFDF7-5718-467F-A138-DC39B8473A23}" type="presParOf" srcId="{8304CACF-20B4-4E75-8A45-F43652792B03}" destId="{45E8CDD4-6326-457A-968A-32C49FCC7893}" srcOrd="22" destOrd="0" presId="urn:microsoft.com/office/officeart/2005/8/layout/hierarchy3"/>
    <dgm:cxn modelId="{D00323EF-19E2-4D9D-8AAB-D3536F4FF3AD}" type="presParOf" srcId="{8304CACF-20B4-4E75-8A45-F43652792B03}" destId="{0FC1438C-711A-479D-AFBA-A3BB6B4240A3}" srcOrd="23" destOrd="0" presId="urn:microsoft.com/office/officeart/2005/8/layout/hierarchy3"/>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53BA327C-60FE-42FB-AB4E-34722D2DFFCB}" type="doc">
      <dgm:prSet loTypeId="urn:microsoft.com/office/officeart/2005/8/layout/hierarchy1" loCatId="hierarchy" qsTypeId="urn:microsoft.com/office/officeart/2005/8/quickstyle/simple1" qsCatId="simple" csTypeId="urn:microsoft.com/office/officeart/2005/8/colors/accent0_3" csCatId="mainScheme" phldr="1"/>
      <dgm:spPr/>
      <dgm:t>
        <a:bodyPr/>
        <a:lstStyle/>
        <a:p>
          <a:endParaRPr lang="en-GB"/>
        </a:p>
      </dgm:t>
    </dgm:pt>
    <dgm:pt modelId="{64CAC080-3DC2-46F4-9409-B7169565B48D}">
      <dgm:prSet custT="1"/>
      <dgm:spPr>
        <a:solidFill>
          <a:srgbClr val="6D73AB"/>
        </a:solidFill>
      </dgm:spPr>
      <dgm:t>
        <a:bodyPr/>
        <a:lstStyle/>
        <a:p>
          <a:r>
            <a:rPr lang="en-US" sz="1600" b="1" i="0" baseline="0">
              <a:solidFill>
                <a:schemeClr val="bg1"/>
              </a:solidFill>
            </a:rPr>
            <a:t>Context Building</a:t>
          </a:r>
          <a:endParaRPr lang="en-GB" sz="1600" b="1">
            <a:solidFill>
              <a:schemeClr val="bg1"/>
            </a:solidFill>
          </a:endParaRPr>
        </a:p>
      </dgm:t>
    </dgm:pt>
    <dgm:pt modelId="{481B4D8A-C415-4F8B-9185-5F703D32A725}" type="parTrans" cxnId="{74634AF0-6074-4131-96F5-BE4EA4C4515C}">
      <dgm:prSet/>
      <dgm:spPr/>
      <dgm:t>
        <a:bodyPr/>
        <a:lstStyle/>
        <a:p>
          <a:endParaRPr lang="en-GB" b="1"/>
        </a:p>
      </dgm:t>
    </dgm:pt>
    <dgm:pt modelId="{0306C0B6-B875-47F7-8B69-4F322C8C301B}" type="sibTrans" cxnId="{74634AF0-6074-4131-96F5-BE4EA4C4515C}">
      <dgm:prSet/>
      <dgm:spPr/>
      <dgm:t>
        <a:bodyPr/>
        <a:lstStyle/>
        <a:p>
          <a:endParaRPr lang="en-GB" b="1"/>
        </a:p>
      </dgm:t>
    </dgm:pt>
    <dgm:pt modelId="{B72226BF-E852-494B-AFE2-74A6A9010E3D}">
      <dgm:prSet custT="1"/>
      <dgm:spPr>
        <a:solidFill>
          <a:srgbClr val="637052"/>
        </a:solidFill>
      </dgm:spPr>
      <dgm:t>
        <a:bodyPr/>
        <a:lstStyle/>
        <a:p>
          <a:r>
            <a:rPr lang="en-US" sz="1600" b="1">
              <a:solidFill>
                <a:schemeClr val="bg1"/>
              </a:solidFill>
              <a:latin typeface="Calibri"/>
            </a:rPr>
            <a:t>Audit</a:t>
          </a:r>
          <a:endParaRPr lang="en-GB" sz="1600" b="1">
            <a:solidFill>
              <a:schemeClr val="bg1"/>
            </a:solidFill>
          </a:endParaRPr>
        </a:p>
      </dgm:t>
    </dgm:pt>
    <dgm:pt modelId="{706D24C1-5560-4F87-9690-CC01578B4155}" type="parTrans" cxnId="{73EE59D0-21C3-4514-99CD-C18589F32749}">
      <dgm:prSet/>
      <dgm:spPr/>
      <dgm:t>
        <a:bodyPr/>
        <a:lstStyle/>
        <a:p>
          <a:endParaRPr lang="en-GB" b="1"/>
        </a:p>
      </dgm:t>
    </dgm:pt>
    <dgm:pt modelId="{FAFAB535-E98B-479E-8CFC-DD17655E1A4B}" type="sibTrans" cxnId="{73EE59D0-21C3-4514-99CD-C18589F32749}">
      <dgm:prSet/>
      <dgm:spPr/>
      <dgm:t>
        <a:bodyPr/>
        <a:lstStyle/>
        <a:p>
          <a:endParaRPr lang="en-GB" b="1"/>
        </a:p>
      </dgm:t>
    </dgm:pt>
    <dgm:pt modelId="{D2539417-5640-4B27-8BA7-98524FBA10AF}">
      <dgm:prSet custT="1"/>
      <dgm:spPr>
        <a:solidFill>
          <a:srgbClr val="637052"/>
        </a:solidFill>
        <a:ln w="12700" cap="flat" cmpd="sng" algn="ctr">
          <a:solidFill>
            <a:srgbClr val="637052">
              <a:hueOff val="0"/>
              <a:satOff val="0"/>
              <a:lumOff val="0"/>
              <a:alphaOff val="0"/>
            </a:srgbClr>
          </a:solidFill>
          <a:prstDash val="solid"/>
          <a:miter lim="800000"/>
        </a:ln>
        <a:effectLst/>
      </dgm:spPr>
      <dgm:t>
        <a:bodyPr spcFirstLastPara="0" vert="horz" wrap="square" lIns="53340" tIns="53340" rIns="53340" bIns="53340" numCol="1" spcCol="1270" anchor="ctr" anchorCtr="0"/>
        <a:lstStyle/>
        <a:p>
          <a:pPr marL="0" lvl="0" indent="0" algn="ctr" defTabSz="622300">
            <a:lnSpc>
              <a:spcPct val="90000"/>
            </a:lnSpc>
            <a:spcBef>
              <a:spcPct val="0"/>
            </a:spcBef>
            <a:spcAft>
              <a:spcPct val="35000"/>
            </a:spcAft>
            <a:buNone/>
          </a:pPr>
          <a:r>
            <a:rPr lang="en-GB" sz="1400" b="1" i="0" kern="1200" baseline="0">
              <a:solidFill>
                <a:prstClr val="white"/>
              </a:solidFill>
              <a:latin typeface="Calibri"/>
              <a:ea typeface="+mn-ea"/>
              <a:cs typeface="+mn-cs"/>
            </a:rPr>
            <a:t>Sharing of Evidences</a:t>
          </a:r>
        </a:p>
      </dgm:t>
    </dgm:pt>
    <dgm:pt modelId="{6F8DF92B-68AC-4D0F-B801-A61860222946}" type="parTrans" cxnId="{B672870D-AE6F-41F1-8D72-75DC5DECDCD9}">
      <dgm:prSet/>
      <dgm:spPr/>
      <dgm:t>
        <a:bodyPr/>
        <a:lstStyle/>
        <a:p>
          <a:endParaRPr lang="en-GB" b="1"/>
        </a:p>
      </dgm:t>
    </dgm:pt>
    <dgm:pt modelId="{2E650ACB-BFEE-4D38-A6F2-700618D39ABC}" type="sibTrans" cxnId="{B672870D-AE6F-41F1-8D72-75DC5DECDCD9}">
      <dgm:prSet/>
      <dgm:spPr/>
      <dgm:t>
        <a:bodyPr/>
        <a:lstStyle/>
        <a:p>
          <a:endParaRPr lang="en-GB" b="1"/>
        </a:p>
      </dgm:t>
    </dgm:pt>
    <dgm:pt modelId="{2114E753-B973-4370-9C77-F897488AA4F3}">
      <dgm:prSet custT="1"/>
      <dgm:spPr>
        <a:solidFill>
          <a:srgbClr val="637052"/>
        </a:solidFill>
        <a:ln w="12700" cap="flat" cmpd="sng" algn="ctr">
          <a:solidFill>
            <a:srgbClr val="637052">
              <a:hueOff val="0"/>
              <a:satOff val="0"/>
              <a:lumOff val="0"/>
              <a:alphaOff val="0"/>
            </a:srgbClr>
          </a:solidFill>
          <a:prstDash val="solid"/>
          <a:miter lim="800000"/>
        </a:ln>
        <a:effectLst/>
      </dgm:spPr>
      <dgm:t>
        <a:bodyPr spcFirstLastPara="0" vert="horz" wrap="square" lIns="53340" tIns="53340" rIns="53340" bIns="53340" numCol="1" spcCol="1270" anchor="ctr" anchorCtr="0"/>
        <a:lstStyle/>
        <a:p>
          <a:pPr marL="0" lvl="0" indent="0" algn="ctr" defTabSz="622300">
            <a:lnSpc>
              <a:spcPct val="90000"/>
            </a:lnSpc>
            <a:spcBef>
              <a:spcPct val="0"/>
            </a:spcBef>
            <a:spcAft>
              <a:spcPct val="35000"/>
            </a:spcAft>
            <a:buNone/>
          </a:pPr>
          <a:r>
            <a:rPr lang="en-US" sz="1400" b="1" i="0" kern="1200" baseline="0">
              <a:solidFill>
                <a:prstClr val="white"/>
              </a:solidFill>
              <a:latin typeface="Calibri"/>
              <a:ea typeface="+mn-ea"/>
              <a:cs typeface="+mn-cs"/>
            </a:rPr>
            <a:t>Review Evidences</a:t>
          </a:r>
          <a:endParaRPr lang="en-GB" sz="1400" b="1" i="0" kern="1200" baseline="0">
            <a:solidFill>
              <a:prstClr val="white"/>
            </a:solidFill>
            <a:latin typeface="Calibri"/>
            <a:ea typeface="+mn-ea"/>
            <a:cs typeface="+mn-cs"/>
          </a:endParaRPr>
        </a:p>
      </dgm:t>
    </dgm:pt>
    <dgm:pt modelId="{640647B6-FA90-4F49-9210-C7E0A7C23C34}" type="parTrans" cxnId="{30B39874-215A-4E0F-8D05-E91A6244ED2C}">
      <dgm:prSet/>
      <dgm:spPr/>
      <dgm:t>
        <a:bodyPr/>
        <a:lstStyle/>
        <a:p>
          <a:endParaRPr lang="en-GB" b="1"/>
        </a:p>
      </dgm:t>
    </dgm:pt>
    <dgm:pt modelId="{229F53DC-2E96-49E1-942A-7E5CD2AF914D}" type="sibTrans" cxnId="{30B39874-215A-4E0F-8D05-E91A6244ED2C}">
      <dgm:prSet/>
      <dgm:spPr/>
      <dgm:t>
        <a:bodyPr/>
        <a:lstStyle/>
        <a:p>
          <a:endParaRPr lang="en-GB" b="1"/>
        </a:p>
      </dgm:t>
    </dgm:pt>
    <dgm:pt modelId="{A889AA1C-BBA2-42CB-8F83-B7D4CAF03BAE}">
      <dgm:prSet custT="1"/>
      <dgm:spPr>
        <a:solidFill>
          <a:srgbClr val="906666"/>
        </a:solidFill>
      </dgm:spPr>
      <dgm:t>
        <a:bodyPr tIns="252000" anchor="t"/>
        <a:lstStyle/>
        <a:p>
          <a:r>
            <a:rPr lang="en-US" sz="1600" b="1" i="0" baseline="0">
              <a:solidFill>
                <a:schemeClr val="bg1"/>
              </a:solidFill>
            </a:rPr>
            <a:t>Interim Audit Report</a:t>
          </a:r>
          <a:endParaRPr lang="en-GB" sz="1600" b="1">
            <a:solidFill>
              <a:schemeClr val="bg1"/>
            </a:solidFill>
          </a:endParaRPr>
        </a:p>
      </dgm:t>
    </dgm:pt>
    <dgm:pt modelId="{E7E57BB2-9C92-4EF8-940D-DD3F6B1050DB}" type="parTrans" cxnId="{D00381E9-A842-4502-853F-314DDAD6C5F7}">
      <dgm:prSet/>
      <dgm:spPr/>
      <dgm:t>
        <a:bodyPr/>
        <a:lstStyle/>
        <a:p>
          <a:endParaRPr lang="en-GB" b="1"/>
        </a:p>
      </dgm:t>
    </dgm:pt>
    <dgm:pt modelId="{C2FE939C-E274-424C-9E24-6DB6094561A0}" type="sibTrans" cxnId="{D00381E9-A842-4502-853F-314DDAD6C5F7}">
      <dgm:prSet/>
      <dgm:spPr/>
      <dgm:t>
        <a:bodyPr/>
        <a:lstStyle/>
        <a:p>
          <a:endParaRPr lang="en-GB" b="1"/>
        </a:p>
      </dgm:t>
    </dgm:pt>
    <dgm:pt modelId="{EDF2D2C6-A98B-40AD-B0A8-9C56883010B9}">
      <dgm:prSet custT="1"/>
      <dgm:spPr>
        <a:solidFill>
          <a:srgbClr val="9B8357"/>
        </a:solidFill>
      </dgm:spPr>
      <dgm:t>
        <a:bodyPr/>
        <a:lstStyle/>
        <a:p>
          <a:r>
            <a:rPr lang="en-US" sz="1600" b="1">
              <a:solidFill>
                <a:schemeClr val="bg1"/>
              </a:solidFill>
            </a:rPr>
            <a:t>Final Audit Report</a:t>
          </a:r>
          <a:endParaRPr lang="en-GB" sz="1600" b="1">
            <a:solidFill>
              <a:schemeClr val="bg1"/>
            </a:solidFill>
          </a:endParaRPr>
        </a:p>
      </dgm:t>
    </dgm:pt>
    <dgm:pt modelId="{99649615-59C6-4ECE-923E-5A4EC1CEE411}" type="parTrans" cxnId="{BC08D978-BA52-47A7-8EEE-19F98BD7C228}">
      <dgm:prSet/>
      <dgm:spPr/>
      <dgm:t>
        <a:bodyPr/>
        <a:lstStyle/>
        <a:p>
          <a:endParaRPr lang="en-GB" b="1"/>
        </a:p>
      </dgm:t>
    </dgm:pt>
    <dgm:pt modelId="{7BF2271E-A18F-4499-9216-B7C8CDE2F8F1}" type="sibTrans" cxnId="{BC08D978-BA52-47A7-8EEE-19F98BD7C228}">
      <dgm:prSet/>
      <dgm:spPr/>
      <dgm:t>
        <a:bodyPr/>
        <a:lstStyle/>
        <a:p>
          <a:endParaRPr lang="en-GB" b="1"/>
        </a:p>
      </dgm:t>
    </dgm:pt>
    <dgm:pt modelId="{A370489E-1E4D-469B-A17A-54C284960B44}" type="pres">
      <dgm:prSet presAssocID="{53BA327C-60FE-42FB-AB4E-34722D2DFFCB}" presName="hierChild1" presStyleCnt="0">
        <dgm:presLayoutVars>
          <dgm:chPref val="1"/>
          <dgm:dir/>
          <dgm:animOne val="branch"/>
          <dgm:animLvl val="lvl"/>
          <dgm:resizeHandles/>
        </dgm:presLayoutVars>
      </dgm:prSet>
      <dgm:spPr/>
    </dgm:pt>
    <dgm:pt modelId="{087DD596-0925-473E-9BF0-141B45D5F826}" type="pres">
      <dgm:prSet presAssocID="{64CAC080-3DC2-46F4-9409-B7169565B48D}" presName="hierRoot1" presStyleCnt="0"/>
      <dgm:spPr/>
    </dgm:pt>
    <dgm:pt modelId="{71582E55-CB86-46FA-AF49-F96E889EC967}" type="pres">
      <dgm:prSet presAssocID="{64CAC080-3DC2-46F4-9409-B7169565B48D}" presName="composite" presStyleCnt="0"/>
      <dgm:spPr/>
    </dgm:pt>
    <dgm:pt modelId="{073D88E8-F9F2-4631-BF58-82E083DC0BBB}" type="pres">
      <dgm:prSet presAssocID="{64CAC080-3DC2-46F4-9409-B7169565B48D}" presName="background" presStyleLbl="node0" presStyleIdx="0" presStyleCnt="4"/>
      <dgm:spPr>
        <a:solidFill>
          <a:srgbClr val="6D73AB">
            <a:alpha val="40000"/>
          </a:srgbClr>
        </a:solidFill>
      </dgm:spPr>
    </dgm:pt>
    <dgm:pt modelId="{D922BF0F-8813-48E2-A169-95C6A2AB7251}" type="pres">
      <dgm:prSet presAssocID="{64CAC080-3DC2-46F4-9409-B7169565B48D}" presName="text" presStyleLbl="fgAcc0" presStyleIdx="0" presStyleCnt="4" custScaleY="115716">
        <dgm:presLayoutVars>
          <dgm:chPref val="3"/>
        </dgm:presLayoutVars>
      </dgm:prSet>
      <dgm:spPr/>
    </dgm:pt>
    <dgm:pt modelId="{E046038D-80FC-41BC-AC8F-80BBF9D153B3}" type="pres">
      <dgm:prSet presAssocID="{64CAC080-3DC2-46F4-9409-B7169565B48D}" presName="hierChild2" presStyleCnt="0"/>
      <dgm:spPr/>
    </dgm:pt>
    <dgm:pt modelId="{BA8759F1-8D9F-45B2-A59A-9620D6D1DFC6}" type="pres">
      <dgm:prSet presAssocID="{B72226BF-E852-494B-AFE2-74A6A9010E3D}" presName="hierRoot1" presStyleCnt="0"/>
      <dgm:spPr/>
    </dgm:pt>
    <dgm:pt modelId="{9EEBA54D-6420-49A5-9D1B-B6E10A75B5AD}" type="pres">
      <dgm:prSet presAssocID="{B72226BF-E852-494B-AFE2-74A6A9010E3D}" presName="composite" presStyleCnt="0"/>
      <dgm:spPr/>
    </dgm:pt>
    <dgm:pt modelId="{DE77520E-5DFC-4640-9045-C007FDB344E0}" type="pres">
      <dgm:prSet presAssocID="{B72226BF-E852-494B-AFE2-74A6A9010E3D}" presName="background" presStyleLbl="node0" presStyleIdx="1" presStyleCnt="4"/>
      <dgm:spPr>
        <a:solidFill>
          <a:schemeClr val="dk2">
            <a:hueOff val="0"/>
            <a:satOff val="0"/>
            <a:lumOff val="0"/>
            <a:alpha val="40000"/>
          </a:schemeClr>
        </a:solidFill>
      </dgm:spPr>
    </dgm:pt>
    <dgm:pt modelId="{F46FB816-E00C-401C-A301-5E3853D2AB57}" type="pres">
      <dgm:prSet presAssocID="{B72226BF-E852-494B-AFE2-74A6A9010E3D}" presName="text" presStyleLbl="fgAcc0" presStyleIdx="1" presStyleCnt="4" custScaleY="115716">
        <dgm:presLayoutVars>
          <dgm:chPref val="3"/>
        </dgm:presLayoutVars>
      </dgm:prSet>
      <dgm:spPr/>
    </dgm:pt>
    <dgm:pt modelId="{B9A664CC-F92A-48FC-90BC-A913EB8FCFFB}" type="pres">
      <dgm:prSet presAssocID="{B72226BF-E852-494B-AFE2-74A6A9010E3D}" presName="hierChild2" presStyleCnt="0"/>
      <dgm:spPr/>
    </dgm:pt>
    <dgm:pt modelId="{0EF3803E-3A11-4D34-B626-BD784F7BB599}" type="pres">
      <dgm:prSet presAssocID="{6F8DF92B-68AC-4D0F-B801-A61860222946}" presName="Name10" presStyleLbl="parChTrans1D2" presStyleIdx="0" presStyleCnt="2"/>
      <dgm:spPr/>
    </dgm:pt>
    <dgm:pt modelId="{DDC022ED-90AE-4B71-AC08-AFE845126260}" type="pres">
      <dgm:prSet presAssocID="{D2539417-5640-4B27-8BA7-98524FBA10AF}" presName="hierRoot2" presStyleCnt="0"/>
      <dgm:spPr/>
    </dgm:pt>
    <dgm:pt modelId="{3DE4264D-7BBC-4EEB-AFEE-086AB1B26624}" type="pres">
      <dgm:prSet presAssocID="{D2539417-5640-4B27-8BA7-98524FBA10AF}" presName="composite2" presStyleCnt="0"/>
      <dgm:spPr/>
    </dgm:pt>
    <dgm:pt modelId="{EE258F26-7CE0-43CD-B285-9A926D8CE92E}" type="pres">
      <dgm:prSet presAssocID="{D2539417-5640-4B27-8BA7-98524FBA10AF}" presName="background2" presStyleLbl="node2" presStyleIdx="0" presStyleCnt="2"/>
      <dgm:spPr>
        <a:solidFill>
          <a:schemeClr val="dk2">
            <a:hueOff val="0"/>
            <a:satOff val="0"/>
            <a:lumOff val="0"/>
            <a:alpha val="40000"/>
          </a:schemeClr>
        </a:solidFill>
      </dgm:spPr>
    </dgm:pt>
    <dgm:pt modelId="{71BE08C8-B4BB-4F59-9A74-5718CD07DC16}" type="pres">
      <dgm:prSet presAssocID="{D2539417-5640-4B27-8BA7-98524FBA10AF}" presName="text2" presStyleLbl="fgAcc2" presStyleIdx="0" presStyleCnt="2">
        <dgm:presLayoutVars>
          <dgm:chPref val="3"/>
        </dgm:presLayoutVars>
      </dgm:prSet>
      <dgm:spPr>
        <a:xfrm>
          <a:off x="1140255" y="2007006"/>
          <a:ext cx="1575759" cy="1000607"/>
        </a:xfrm>
        <a:prstGeom prst="roundRect">
          <a:avLst>
            <a:gd name="adj" fmla="val 10000"/>
          </a:avLst>
        </a:prstGeom>
      </dgm:spPr>
    </dgm:pt>
    <dgm:pt modelId="{A48AED34-9064-46B0-887B-2ABCB7825517}" type="pres">
      <dgm:prSet presAssocID="{D2539417-5640-4B27-8BA7-98524FBA10AF}" presName="hierChild3" presStyleCnt="0"/>
      <dgm:spPr/>
    </dgm:pt>
    <dgm:pt modelId="{BADAC4E4-57CE-4043-8C1D-36FDD5C6F4C1}" type="pres">
      <dgm:prSet presAssocID="{640647B6-FA90-4F49-9210-C7E0A7C23C34}" presName="Name10" presStyleLbl="parChTrans1D2" presStyleIdx="1" presStyleCnt="2"/>
      <dgm:spPr/>
    </dgm:pt>
    <dgm:pt modelId="{B83DCA6B-FDE0-4D29-97BA-1CE8CA206BF0}" type="pres">
      <dgm:prSet presAssocID="{2114E753-B973-4370-9C77-F897488AA4F3}" presName="hierRoot2" presStyleCnt="0"/>
      <dgm:spPr/>
    </dgm:pt>
    <dgm:pt modelId="{3C7D8888-5692-4A24-B85F-09CBF15A7A1E}" type="pres">
      <dgm:prSet presAssocID="{2114E753-B973-4370-9C77-F897488AA4F3}" presName="composite2" presStyleCnt="0"/>
      <dgm:spPr/>
    </dgm:pt>
    <dgm:pt modelId="{B611966E-16E6-44C5-9BA3-FFC513260E3D}" type="pres">
      <dgm:prSet presAssocID="{2114E753-B973-4370-9C77-F897488AA4F3}" presName="background2" presStyleLbl="node2" presStyleIdx="1" presStyleCnt="2"/>
      <dgm:spPr>
        <a:solidFill>
          <a:schemeClr val="dk2">
            <a:hueOff val="0"/>
            <a:satOff val="0"/>
            <a:lumOff val="0"/>
            <a:alpha val="40000"/>
          </a:schemeClr>
        </a:solidFill>
      </dgm:spPr>
    </dgm:pt>
    <dgm:pt modelId="{C4F85545-05AE-47E6-A3AF-6C46132F6EC2}" type="pres">
      <dgm:prSet presAssocID="{2114E753-B973-4370-9C77-F897488AA4F3}" presName="text2" presStyleLbl="fgAcc2" presStyleIdx="1" presStyleCnt="2">
        <dgm:presLayoutVars>
          <dgm:chPref val="3"/>
        </dgm:presLayoutVars>
      </dgm:prSet>
      <dgm:spPr>
        <a:xfrm>
          <a:off x="3066183" y="2007006"/>
          <a:ext cx="1575759" cy="1000607"/>
        </a:xfrm>
        <a:prstGeom prst="roundRect">
          <a:avLst>
            <a:gd name="adj" fmla="val 10000"/>
          </a:avLst>
        </a:prstGeom>
      </dgm:spPr>
    </dgm:pt>
    <dgm:pt modelId="{C3579939-91C6-4F69-92D3-FEFEE5E5611C}" type="pres">
      <dgm:prSet presAssocID="{2114E753-B973-4370-9C77-F897488AA4F3}" presName="hierChild3" presStyleCnt="0"/>
      <dgm:spPr/>
    </dgm:pt>
    <dgm:pt modelId="{DFE5A698-5987-40BA-8D4B-DEFD7C6C2764}" type="pres">
      <dgm:prSet presAssocID="{A889AA1C-BBA2-42CB-8F83-B7D4CAF03BAE}" presName="hierRoot1" presStyleCnt="0"/>
      <dgm:spPr/>
    </dgm:pt>
    <dgm:pt modelId="{5774DC1D-4363-4AC6-A1B9-9E559CA0C222}" type="pres">
      <dgm:prSet presAssocID="{A889AA1C-BBA2-42CB-8F83-B7D4CAF03BAE}" presName="composite" presStyleCnt="0"/>
      <dgm:spPr/>
    </dgm:pt>
    <dgm:pt modelId="{E5365898-102C-4612-B61F-4924A355F257}" type="pres">
      <dgm:prSet presAssocID="{A889AA1C-BBA2-42CB-8F83-B7D4CAF03BAE}" presName="background" presStyleLbl="node0" presStyleIdx="2" presStyleCnt="4"/>
      <dgm:spPr>
        <a:solidFill>
          <a:srgbClr val="906666">
            <a:alpha val="40000"/>
          </a:srgbClr>
        </a:solidFill>
      </dgm:spPr>
    </dgm:pt>
    <dgm:pt modelId="{2C9CEF50-3B8E-4C83-A702-E4A60DAC053A}" type="pres">
      <dgm:prSet presAssocID="{A889AA1C-BBA2-42CB-8F83-B7D4CAF03BAE}" presName="text" presStyleLbl="fgAcc0" presStyleIdx="2" presStyleCnt="4" custScaleY="115716">
        <dgm:presLayoutVars>
          <dgm:chPref val="3"/>
        </dgm:presLayoutVars>
      </dgm:prSet>
      <dgm:spPr/>
    </dgm:pt>
    <dgm:pt modelId="{65E538CE-D1A8-4570-BF7A-ABB011E1CBBC}" type="pres">
      <dgm:prSet presAssocID="{A889AA1C-BBA2-42CB-8F83-B7D4CAF03BAE}" presName="hierChild2" presStyleCnt="0"/>
      <dgm:spPr/>
    </dgm:pt>
    <dgm:pt modelId="{D42A05F7-1DBD-462E-B604-72EA5604630C}" type="pres">
      <dgm:prSet presAssocID="{EDF2D2C6-A98B-40AD-B0A8-9C56883010B9}" presName="hierRoot1" presStyleCnt="0"/>
      <dgm:spPr/>
    </dgm:pt>
    <dgm:pt modelId="{03129BE9-9F27-43FB-BFF7-57DE2A9D1C3B}" type="pres">
      <dgm:prSet presAssocID="{EDF2D2C6-A98B-40AD-B0A8-9C56883010B9}" presName="composite" presStyleCnt="0"/>
      <dgm:spPr/>
    </dgm:pt>
    <dgm:pt modelId="{3573B1B5-90B0-4F64-82C6-CE18934AA337}" type="pres">
      <dgm:prSet presAssocID="{EDF2D2C6-A98B-40AD-B0A8-9C56883010B9}" presName="background" presStyleLbl="node0" presStyleIdx="3" presStyleCnt="4"/>
      <dgm:spPr>
        <a:solidFill>
          <a:srgbClr val="9B8357">
            <a:alpha val="40000"/>
          </a:srgbClr>
        </a:solidFill>
      </dgm:spPr>
    </dgm:pt>
    <dgm:pt modelId="{6C81BC27-1F1A-4193-A882-328863CB118E}" type="pres">
      <dgm:prSet presAssocID="{EDF2D2C6-A98B-40AD-B0A8-9C56883010B9}" presName="text" presStyleLbl="fgAcc0" presStyleIdx="3" presStyleCnt="4" custScaleY="115716">
        <dgm:presLayoutVars>
          <dgm:chPref val="3"/>
        </dgm:presLayoutVars>
      </dgm:prSet>
      <dgm:spPr/>
    </dgm:pt>
    <dgm:pt modelId="{CFFC76AD-31A5-4A1B-B0E6-22323513BAFB}" type="pres">
      <dgm:prSet presAssocID="{EDF2D2C6-A98B-40AD-B0A8-9C56883010B9}" presName="hierChild2" presStyleCnt="0"/>
      <dgm:spPr/>
    </dgm:pt>
  </dgm:ptLst>
  <dgm:cxnLst>
    <dgm:cxn modelId="{B6F4FF05-14FC-4223-BC22-3E4A859E7AA8}" type="presOf" srcId="{640647B6-FA90-4F49-9210-C7E0A7C23C34}" destId="{BADAC4E4-57CE-4043-8C1D-36FDD5C6F4C1}" srcOrd="0" destOrd="0" presId="urn:microsoft.com/office/officeart/2005/8/layout/hierarchy1"/>
    <dgm:cxn modelId="{B672870D-AE6F-41F1-8D72-75DC5DECDCD9}" srcId="{B72226BF-E852-494B-AFE2-74A6A9010E3D}" destId="{D2539417-5640-4B27-8BA7-98524FBA10AF}" srcOrd="0" destOrd="0" parTransId="{6F8DF92B-68AC-4D0F-B801-A61860222946}" sibTransId="{2E650ACB-BFEE-4D38-A6F2-700618D39ABC}"/>
    <dgm:cxn modelId="{5498FF10-6D88-427A-9121-3F4623916741}" type="presOf" srcId="{A889AA1C-BBA2-42CB-8F83-B7D4CAF03BAE}" destId="{2C9CEF50-3B8E-4C83-A702-E4A60DAC053A}" srcOrd="0" destOrd="0" presId="urn:microsoft.com/office/officeart/2005/8/layout/hierarchy1"/>
    <dgm:cxn modelId="{A9C92615-1167-4E0B-9EFB-0BCC7DB79FD4}" type="presOf" srcId="{B72226BF-E852-494B-AFE2-74A6A9010E3D}" destId="{F46FB816-E00C-401C-A301-5E3853D2AB57}" srcOrd="0" destOrd="0" presId="urn:microsoft.com/office/officeart/2005/8/layout/hierarchy1"/>
    <dgm:cxn modelId="{04DE8F1E-B181-4302-A7B5-960439882BC1}" type="presOf" srcId="{2114E753-B973-4370-9C77-F897488AA4F3}" destId="{C4F85545-05AE-47E6-A3AF-6C46132F6EC2}" srcOrd="0" destOrd="0" presId="urn:microsoft.com/office/officeart/2005/8/layout/hierarchy1"/>
    <dgm:cxn modelId="{EE553974-5A1B-48D4-9448-5C5B1237BB70}" type="presOf" srcId="{EDF2D2C6-A98B-40AD-B0A8-9C56883010B9}" destId="{6C81BC27-1F1A-4193-A882-328863CB118E}" srcOrd="0" destOrd="0" presId="urn:microsoft.com/office/officeart/2005/8/layout/hierarchy1"/>
    <dgm:cxn modelId="{30B39874-215A-4E0F-8D05-E91A6244ED2C}" srcId="{B72226BF-E852-494B-AFE2-74A6A9010E3D}" destId="{2114E753-B973-4370-9C77-F897488AA4F3}" srcOrd="1" destOrd="0" parTransId="{640647B6-FA90-4F49-9210-C7E0A7C23C34}" sibTransId="{229F53DC-2E96-49E1-942A-7E5CD2AF914D}"/>
    <dgm:cxn modelId="{BC08D978-BA52-47A7-8EEE-19F98BD7C228}" srcId="{53BA327C-60FE-42FB-AB4E-34722D2DFFCB}" destId="{EDF2D2C6-A98B-40AD-B0A8-9C56883010B9}" srcOrd="3" destOrd="0" parTransId="{99649615-59C6-4ECE-923E-5A4EC1CEE411}" sibTransId="{7BF2271E-A18F-4499-9216-B7C8CDE2F8F1}"/>
    <dgm:cxn modelId="{A5B3809B-5F6E-447F-BC87-05C7D9C65E85}" type="presOf" srcId="{D2539417-5640-4B27-8BA7-98524FBA10AF}" destId="{71BE08C8-B4BB-4F59-9A74-5718CD07DC16}" srcOrd="0" destOrd="0" presId="urn:microsoft.com/office/officeart/2005/8/layout/hierarchy1"/>
    <dgm:cxn modelId="{D081FA9C-1E6F-4AF8-8FCD-0689AAD87DE6}" type="presOf" srcId="{6F8DF92B-68AC-4D0F-B801-A61860222946}" destId="{0EF3803E-3A11-4D34-B626-BD784F7BB599}" srcOrd="0" destOrd="0" presId="urn:microsoft.com/office/officeart/2005/8/layout/hierarchy1"/>
    <dgm:cxn modelId="{14CE16B8-7805-4BDC-B28C-C0C739F18BF8}" type="presOf" srcId="{53BA327C-60FE-42FB-AB4E-34722D2DFFCB}" destId="{A370489E-1E4D-469B-A17A-54C284960B44}" srcOrd="0" destOrd="0" presId="urn:microsoft.com/office/officeart/2005/8/layout/hierarchy1"/>
    <dgm:cxn modelId="{D8197BCB-3B1F-4A3B-B24F-D4345BFFBF92}" type="presOf" srcId="{64CAC080-3DC2-46F4-9409-B7169565B48D}" destId="{D922BF0F-8813-48E2-A169-95C6A2AB7251}" srcOrd="0" destOrd="0" presId="urn:microsoft.com/office/officeart/2005/8/layout/hierarchy1"/>
    <dgm:cxn modelId="{73EE59D0-21C3-4514-99CD-C18589F32749}" srcId="{53BA327C-60FE-42FB-AB4E-34722D2DFFCB}" destId="{B72226BF-E852-494B-AFE2-74A6A9010E3D}" srcOrd="1" destOrd="0" parTransId="{706D24C1-5560-4F87-9690-CC01578B4155}" sibTransId="{FAFAB535-E98B-479E-8CFC-DD17655E1A4B}"/>
    <dgm:cxn modelId="{D00381E9-A842-4502-853F-314DDAD6C5F7}" srcId="{53BA327C-60FE-42FB-AB4E-34722D2DFFCB}" destId="{A889AA1C-BBA2-42CB-8F83-B7D4CAF03BAE}" srcOrd="2" destOrd="0" parTransId="{E7E57BB2-9C92-4EF8-940D-DD3F6B1050DB}" sibTransId="{C2FE939C-E274-424C-9E24-6DB6094561A0}"/>
    <dgm:cxn modelId="{74634AF0-6074-4131-96F5-BE4EA4C4515C}" srcId="{53BA327C-60FE-42FB-AB4E-34722D2DFFCB}" destId="{64CAC080-3DC2-46F4-9409-B7169565B48D}" srcOrd="0" destOrd="0" parTransId="{481B4D8A-C415-4F8B-9185-5F703D32A725}" sibTransId="{0306C0B6-B875-47F7-8B69-4F322C8C301B}"/>
    <dgm:cxn modelId="{8F9D63A1-7ED2-4336-9391-74DA510FA146}" type="presParOf" srcId="{A370489E-1E4D-469B-A17A-54C284960B44}" destId="{087DD596-0925-473E-9BF0-141B45D5F826}" srcOrd="0" destOrd="0" presId="urn:microsoft.com/office/officeart/2005/8/layout/hierarchy1"/>
    <dgm:cxn modelId="{1D95B630-C3EA-4FB0-A9FD-F7FCD2A9A93B}" type="presParOf" srcId="{087DD596-0925-473E-9BF0-141B45D5F826}" destId="{71582E55-CB86-46FA-AF49-F96E889EC967}" srcOrd="0" destOrd="0" presId="urn:microsoft.com/office/officeart/2005/8/layout/hierarchy1"/>
    <dgm:cxn modelId="{096AA8CC-BB3E-4827-A02B-44901E622647}" type="presParOf" srcId="{71582E55-CB86-46FA-AF49-F96E889EC967}" destId="{073D88E8-F9F2-4631-BF58-82E083DC0BBB}" srcOrd="0" destOrd="0" presId="urn:microsoft.com/office/officeart/2005/8/layout/hierarchy1"/>
    <dgm:cxn modelId="{A07045FD-E702-4C79-AE49-4064F1E7D4F0}" type="presParOf" srcId="{71582E55-CB86-46FA-AF49-F96E889EC967}" destId="{D922BF0F-8813-48E2-A169-95C6A2AB7251}" srcOrd="1" destOrd="0" presId="urn:microsoft.com/office/officeart/2005/8/layout/hierarchy1"/>
    <dgm:cxn modelId="{089A728B-5286-4B74-B420-1BC60B4A81F1}" type="presParOf" srcId="{087DD596-0925-473E-9BF0-141B45D5F826}" destId="{E046038D-80FC-41BC-AC8F-80BBF9D153B3}" srcOrd="1" destOrd="0" presId="urn:microsoft.com/office/officeart/2005/8/layout/hierarchy1"/>
    <dgm:cxn modelId="{89843EC8-04FF-4F90-8914-6C718945250B}" type="presParOf" srcId="{A370489E-1E4D-469B-A17A-54C284960B44}" destId="{BA8759F1-8D9F-45B2-A59A-9620D6D1DFC6}" srcOrd="1" destOrd="0" presId="urn:microsoft.com/office/officeart/2005/8/layout/hierarchy1"/>
    <dgm:cxn modelId="{EC6173A1-4DC1-4E39-AC1A-10D337ADA19E}" type="presParOf" srcId="{BA8759F1-8D9F-45B2-A59A-9620D6D1DFC6}" destId="{9EEBA54D-6420-49A5-9D1B-B6E10A75B5AD}" srcOrd="0" destOrd="0" presId="urn:microsoft.com/office/officeart/2005/8/layout/hierarchy1"/>
    <dgm:cxn modelId="{7F7509B4-AD09-4167-8C6C-A63257C7A33E}" type="presParOf" srcId="{9EEBA54D-6420-49A5-9D1B-B6E10A75B5AD}" destId="{DE77520E-5DFC-4640-9045-C007FDB344E0}" srcOrd="0" destOrd="0" presId="urn:microsoft.com/office/officeart/2005/8/layout/hierarchy1"/>
    <dgm:cxn modelId="{1322F25A-7D1F-40B9-A628-920558BC1E1B}" type="presParOf" srcId="{9EEBA54D-6420-49A5-9D1B-B6E10A75B5AD}" destId="{F46FB816-E00C-401C-A301-5E3853D2AB57}" srcOrd="1" destOrd="0" presId="urn:microsoft.com/office/officeart/2005/8/layout/hierarchy1"/>
    <dgm:cxn modelId="{3FBBD475-BFE4-441B-B894-B5BD6F6897FD}" type="presParOf" srcId="{BA8759F1-8D9F-45B2-A59A-9620D6D1DFC6}" destId="{B9A664CC-F92A-48FC-90BC-A913EB8FCFFB}" srcOrd="1" destOrd="0" presId="urn:microsoft.com/office/officeart/2005/8/layout/hierarchy1"/>
    <dgm:cxn modelId="{95AAAFBC-B92A-4CAA-9E7C-E364A41F52A8}" type="presParOf" srcId="{B9A664CC-F92A-48FC-90BC-A913EB8FCFFB}" destId="{0EF3803E-3A11-4D34-B626-BD784F7BB599}" srcOrd="0" destOrd="0" presId="urn:microsoft.com/office/officeart/2005/8/layout/hierarchy1"/>
    <dgm:cxn modelId="{3F1828E1-675D-43FE-9414-55EF84B462CE}" type="presParOf" srcId="{B9A664CC-F92A-48FC-90BC-A913EB8FCFFB}" destId="{DDC022ED-90AE-4B71-AC08-AFE845126260}" srcOrd="1" destOrd="0" presId="urn:microsoft.com/office/officeart/2005/8/layout/hierarchy1"/>
    <dgm:cxn modelId="{CDBCFB33-2DAB-420F-B85A-AB62D6A6F211}" type="presParOf" srcId="{DDC022ED-90AE-4B71-AC08-AFE845126260}" destId="{3DE4264D-7BBC-4EEB-AFEE-086AB1B26624}" srcOrd="0" destOrd="0" presId="urn:microsoft.com/office/officeart/2005/8/layout/hierarchy1"/>
    <dgm:cxn modelId="{2EA439BA-9609-4811-B8E9-889EB9F32651}" type="presParOf" srcId="{3DE4264D-7BBC-4EEB-AFEE-086AB1B26624}" destId="{EE258F26-7CE0-43CD-B285-9A926D8CE92E}" srcOrd="0" destOrd="0" presId="urn:microsoft.com/office/officeart/2005/8/layout/hierarchy1"/>
    <dgm:cxn modelId="{4E009F97-C622-4E53-883B-A76558884D6B}" type="presParOf" srcId="{3DE4264D-7BBC-4EEB-AFEE-086AB1B26624}" destId="{71BE08C8-B4BB-4F59-9A74-5718CD07DC16}" srcOrd="1" destOrd="0" presId="urn:microsoft.com/office/officeart/2005/8/layout/hierarchy1"/>
    <dgm:cxn modelId="{8D0B1333-629D-4594-A4C9-D4E9E5945F67}" type="presParOf" srcId="{DDC022ED-90AE-4B71-AC08-AFE845126260}" destId="{A48AED34-9064-46B0-887B-2ABCB7825517}" srcOrd="1" destOrd="0" presId="urn:microsoft.com/office/officeart/2005/8/layout/hierarchy1"/>
    <dgm:cxn modelId="{C9EFF414-6FEF-4676-AF80-B3C4ECE3BCBD}" type="presParOf" srcId="{B9A664CC-F92A-48FC-90BC-A913EB8FCFFB}" destId="{BADAC4E4-57CE-4043-8C1D-36FDD5C6F4C1}" srcOrd="2" destOrd="0" presId="urn:microsoft.com/office/officeart/2005/8/layout/hierarchy1"/>
    <dgm:cxn modelId="{C2D0FE36-026C-4959-9668-1088A9FA47C6}" type="presParOf" srcId="{B9A664CC-F92A-48FC-90BC-A913EB8FCFFB}" destId="{B83DCA6B-FDE0-4D29-97BA-1CE8CA206BF0}" srcOrd="3" destOrd="0" presId="urn:microsoft.com/office/officeart/2005/8/layout/hierarchy1"/>
    <dgm:cxn modelId="{0BC0D4B1-FF18-42A6-9B40-3E9FB2129811}" type="presParOf" srcId="{B83DCA6B-FDE0-4D29-97BA-1CE8CA206BF0}" destId="{3C7D8888-5692-4A24-B85F-09CBF15A7A1E}" srcOrd="0" destOrd="0" presId="urn:microsoft.com/office/officeart/2005/8/layout/hierarchy1"/>
    <dgm:cxn modelId="{C8E5CCC8-04A9-4F2A-BA3E-BB4B0410D07E}" type="presParOf" srcId="{3C7D8888-5692-4A24-B85F-09CBF15A7A1E}" destId="{B611966E-16E6-44C5-9BA3-FFC513260E3D}" srcOrd="0" destOrd="0" presId="urn:microsoft.com/office/officeart/2005/8/layout/hierarchy1"/>
    <dgm:cxn modelId="{BD26207B-1773-46C4-BE5E-58085823CAF2}" type="presParOf" srcId="{3C7D8888-5692-4A24-B85F-09CBF15A7A1E}" destId="{C4F85545-05AE-47E6-A3AF-6C46132F6EC2}" srcOrd="1" destOrd="0" presId="urn:microsoft.com/office/officeart/2005/8/layout/hierarchy1"/>
    <dgm:cxn modelId="{2A8557BC-5BE1-4980-AD72-E2D3E72A6AE0}" type="presParOf" srcId="{B83DCA6B-FDE0-4D29-97BA-1CE8CA206BF0}" destId="{C3579939-91C6-4F69-92D3-FEFEE5E5611C}" srcOrd="1" destOrd="0" presId="urn:microsoft.com/office/officeart/2005/8/layout/hierarchy1"/>
    <dgm:cxn modelId="{88581329-3FFA-42F1-B086-D47F6AFB9B4C}" type="presParOf" srcId="{A370489E-1E4D-469B-A17A-54C284960B44}" destId="{DFE5A698-5987-40BA-8D4B-DEFD7C6C2764}" srcOrd="2" destOrd="0" presId="urn:microsoft.com/office/officeart/2005/8/layout/hierarchy1"/>
    <dgm:cxn modelId="{356829B8-2191-45C0-8AF1-734CAD5CCC3C}" type="presParOf" srcId="{DFE5A698-5987-40BA-8D4B-DEFD7C6C2764}" destId="{5774DC1D-4363-4AC6-A1B9-9E559CA0C222}" srcOrd="0" destOrd="0" presId="urn:microsoft.com/office/officeart/2005/8/layout/hierarchy1"/>
    <dgm:cxn modelId="{D78250EB-4131-4CBA-8DBE-7EF9006B6F6C}" type="presParOf" srcId="{5774DC1D-4363-4AC6-A1B9-9E559CA0C222}" destId="{E5365898-102C-4612-B61F-4924A355F257}" srcOrd="0" destOrd="0" presId="urn:microsoft.com/office/officeart/2005/8/layout/hierarchy1"/>
    <dgm:cxn modelId="{F12CB0B6-A7B8-4362-A247-2D937BA7726A}" type="presParOf" srcId="{5774DC1D-4363-4AC6-A1B9-9E559CA0C222}" destId="{2C9CEF50-3B8E-4C83-A702-E4A60DAC053A}" srcOrd="1" destOrd="0" presId="urn:microsoft.com/office/officeart/2005/8/layout/hierarchy1"/>
    <dgm:cxn modelId="{5E5B11CB-AF5E-48C7-BD67-25B53701A0EF}" type="presParOf" srcId="{DFE5A698-5987-40BA-8D4B-DEFD7C6C2764}" destId="{65E538CE-D1A8-4570-BF7A-ABB011E1CBBC}" srcOrd="1" destOrd="0" presId="urn:microsoft.com/office/officeart/2005/8/layout/hierarchy1"/>
    <dgm:cxn modelId="{28EA6510-2E59-421F-8BAB-46DD2FBCA53D}" type="presParOf" srcId="{A370489E-1E4D-469B-A17A-54C284960B44}" destId="{D42A05F7-1DBD-462E-B604-72EA5604630C}" srcOrd="3" destOrd="0" presId="urn:microsoft.com/office/officeart/2005/8/layout/hierarchy1"/>
    <dgm:cxn modelId="{238B163D-AF67-4047-B31A-BE820E7CE773}" type="presParOf" srcId="{D42A05F7-1DBD-462E-B604-72EA5604630C}" destId="{03129BE9-9F27-43FB-BFF7-57DE2A9D1C3B}" srcOrd="0" destOrd="0" presId="urn:microsoft.com/office/officeart/2005/8/layout/hierarchy1"/>
    <dgm:cxn modelId="{65160408-DFAD-42A8-A633-5A1B0B612FCA}" type="presParOf" srcId="{03129BE9-9F27-43FB-BFF7-57DE2A9D1C3B}" destId="{3573B1B5-90B0-4F64-82C6-CE18934AA337}" srcOrd="0" destOrd="0" presId="urn:microsoft.com/office/officeart/2005/8/layout/hierarchy1"/>
    <dgm:cxn modelId="{75B77D21-6935-4FA5-B688-C9F350775520}" type="presParOf" srcId="{03129BE9-9F27-43FB-BFF7-57DE2A9D1C3B}" destId="{6C81BC27-1F1A-4193-A882-328863CB118E}" srcOrd="1" destOrd="0" presId="urn:microsoft.com/office/officeart/2005/8/layout/hierarchy1"/>
    <dgm:cxn modelId="{12DDD24E-36FD-49B5-BA4F-E4DC2F89789F}" type="presParOf" srcId="{D42A05F7-1DBD-462E-B604-72EA5604630C}" destId="{CFFC76AD-31A5-4A1B-B0E6-22323513BAFB}" srcOrd="1" destOrd="0" presId="urn:microsoft.com/office/officeart/2005/8/layout/hierarchy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BA5DD0-B160-4BCB-8927-447C4F773E6D}">
      <dsp:nvSpPr>
        <dsp:cNvPr id="0" name=""/>
        <dsp:cNvSpPr/>
      </dsp:nvSpPr>
      <dsp:spPr>
        <a:xfrm rot="5400000">
          <a:off x="317990" y="1968176"/>
          <a:ext cx="950941" cy="1582345"/>
        </a:xfrm>
        <a:prstGeom prst="corner">
          <a:avLst>
            <a:gd name="adj1" fmla="val 16120"/>
            <a:gd name="adj2" fmla="val 16110"/>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18080E7-9CB9-4D06-BB81-D20B02876BED}">
      <dsp:nvSpPr>
        <dsp:cNvPr id="0" name=""/>
        <dsp:cNvSpPr/>
      </dsp:nvSpPr>
      <dsp:spPr>
        <a:xfrm>
          <a:off x="159254" y="2440957"/>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0</a:t>
          </a:r>
          <a:endParaRPr lang="en-GB" sz="1600" b="1" kern="1200"/>
        </a:p>
      </dsp:txBody>
      <dsp:txXfrm>
        <a:off x="159254" y="2440957"/>
        <a:ext cx="1428550" cy="1252207"/>
      </dsp:txXfrm>
    </dsp:sp>
    <dsp:sp modelId="{CA65AB69-8EA1-4DB3-8207-CC482BACEE14}">
      <dsp:nvSpPr>
        <dsp:cNvPr id="0" name=""/>
        <dsp:cNvSpPr/>
      </dsp:nvSpPr>
      <dsp:spPr>
        <a:xfrm>
          <a:off x="1318267" y="1851682"/>
          <a:ext cx="269537" cy="269537"/>
        </a:xfrm>
        <a:prstGeom prst="triangle">
          <a:avLst>
            <a:gd name="adj" fmla="val 100000"/>
          </a:avLst>
        </a:prstGeom>
        <a:solidFill>
          <a:schemeClr val="accent3">
            <a:hueOff val="-49911"/>
            <a:satOff val="-2090"/>
            <a:lumOff val="-1333"/>
            <a:alphaOff val="0"/>
          </a:schemeClr>
        </a:solidFill>
        <a:ln w="12700" cap="flat" cmpd="sng" algn="ctr">
          <a:solidFill>
            <a:schemeClr val="accent3">
              <a:hueOff val="-49911"/>
              <a:satOff val="-2090"/>
              <a:lumOff val="-1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9479392-A808-4218-BC05-7103214E761B}">
      <dsp:nvSpPr>
        <dsp:cNvPr id="0" name=""/>
        <dsp:cNvSpPr/>
      </dsp:nvSpPr>
      <dsp:spPr>
        <a:xfrm rot="5400000">
          <a:off x="2066815" y="1535428"/>
          <a:ext cx="950941" cy="1582345"/>
        </a:xfrm>
        <a:prstGeom prst="corner">
          <a:avLst>
            <a:gd name="adj1" fmla="val 16120"/>
            <a:gd name="adj2" fmla="val 16110"/>
          </a:avLst>
        </a:prstGeom>
        <a:solidFill>
          <a:schemeClr val="accent3">
            <a:hueOff val="-99822"/>
            <a:satOff val="-4180"/>
            <a:lumOff val="-2667"/>
            <a:alphaOff val="0"/>
          </a:schemeClr>
        </a:solidFill>
        <a:ln w="12700" cap="flat" cmpd="sng" algn="ctr">
          <a:solidFill>
            <a:schemeClr val="accent3">
              <a:hueOff val="-99822"/>
              <a:satOff val="-4180"/>
              <a:lumOff val="-2667"/>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41CC9DE-0B78-4A7E-914B-AD5D420512E9}">
      <dsp:nvSpPr>
        <dsp:cNvPr id="0" name=""/>
        <dsp:cNvSpPr/>
      </dsp:nvSpPr>
      <dsp:spPr>
        <a:xfrm>
          <a:off x="1908079" y="2008208"/>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1</a:t>
          </a:r>
          <a:endParaRPr lang="en-GB" sz="1600" b="1" kern="1200"/>
        </a:p>
      </dsp:txBody>
      <dsp:txXfrm>
        <a:off x="1908079" y="2008208"/>
        <a:ext cx="1428550" cy="1252207"/>
      </dsp:txXfrm>
    </dsp:sp>
    <dsp:sp modelId="{BE4B9422-992B-4A40-80F6-2B7D3B5350B9}">
      <dsp:nvSpPr>
        <dsp:cNvPr id="0" name=""/>
        <dsp:cNvSpPr/>
      </dsp:nvSpPr>
      <dsp:spPr>
        <a:xfrm>
          <a:off x="3067091" y="1418934"/>
          <a:ext cx="269537" cy="269537"/>
        </a:xfrm>
        <a:prstGeom prst="triangle">
          <a:avLst>
            <a:gd name="adj" fmla="val 100000"/>
          </a:avLst>
        </a:prstGeom>
        <a:solidFill>
          <a:schemeClr val="accent3">
            <a:hueOff val="-149733"/>
            <a:satOff val="-6270"/>
            <a:lumOff val="-4000"/>
            <a:alphaOff val="0"/>
          </a:schemeClr>
        </a:solidFill>
        <a:ln w="12700" cap="flat" cmpd="sng" algn="ctr">
          <a:solidFill>
            <a:schemeClr val="accent3">
              <a:hueOff val="-149733"/>
              <a:satOff val="-6270"/>
              <a:lumOff val="-4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3FF11FF-1532-4EE2-80A1-730EDE62CFA0}">
      <dsp:nvSpPr>
        <dsp:cNvPr id="0" name=""/>
        <dsp:cNvSpPr/>
      </dsp:nvSpPr>
      <dsp:spPr>
        <a:xfrm rot="5400000">
          <a:off x="3815639" y="1102680"/>
          <a:ext cx="950941" cy="1582345"/>
        </a:xfrm>
        <a:prstGeom prst="corner">
          <a:avLst>
            <a:gd name="adj1" fmla="val 16120"/>
            <a:gd name="adj2" fmla="val 16110"/>
          </a:avLst>
        </a:prstGeom>
        <a:solidFill>
          <a:schemeClr val="accent3">
            <a:hueOff val="-199644"/>
            <a:satOff val="-8360"/>
            <a:lumOff val="-5333"/>
            <a:alphaOff val="0"/>
          </a:schemeClr>
        </a:solidFill>
        <a:ln w="12700" cap="flat" cmpd="sng" algn="ctr">
          <a:solidFill>
            <a:schemeClr val="accent3">
              <a:hueOff val="-199644"/>
              <a:satOff val="-8360"/>
              <a:lumOff val="-5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A16A887-7BFD-4A31-BC2D-97D7A543B6DF}">
      <dsp:nvSpPr>
        <dsp:cNvPr id="0" name=""/>
        <dsp:cNvSpPr/>
      </dsp:nvSpPr>
      <dsp:spPr>
        <a:xfrm>
          <a:off x="3656903" y="1575460"/>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2</a:t>
          </a:r>
          <a:endParaRPr lang="en-GB" sz="1600" b="1" kern="1200"/>
        </a:p>
      </dsp:txBody>
      <dsp:txXfrm>
        <a:off x="3656903" y="1575460"/>
        <a:ext cx="1428550" cy="1252207"/>
      </dsp:txXfrm>
    </dsp:sp>
    <dsp:sp modelId="{A321739A-1D1B-4D3E-95E0-2E3122B0E43A}">
      <dsp:nvSpPr>
        <dsp:cNvPr id="0" name=""/>
        <dsp:cNvSpPr/>
      </dsp:nvSpPr>
      <dsp:spPr>
        <a:xfrm>
          <a:off x="4815916" y="986186"/>
          <a:ext cx="269537" cy="269537"/>
        </a:xfrm>
        <a:prstGeom prst="triangle">
          <a:avLst>
            <a:gd name="adj" fmla="val 100000"/>
          </a:avLst>
        </a:prstGeom>
        <a:solidFill>
          <a:schemeClr val="accent3">
            <a:hueOff val="-249555"/>
            <a:satOff val="-10451"/>
            <a:lumOff val="-6666"/>
            <a:alphaOff val="0"/>
          </a:schemeClr>
        </a:solidFill>
        <a:ln w="12700" cap="flat" cmpd="sng" algn="ctr">
          <a:solidFill>
            <a:schemeClr val="accent3">
              <a:hueOff val="-249555"/>
              <a:satOff val="-10451"/>
              <a:lumOff val="-666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F100B55-7F85-4B0D-AFC9-74ED14FD5B46}">
      <dsp:nvSpPr>
        <dsp:cNvPr id="0" name=""/>
        <dsp:cNvSpPr/>
      </dsp:nvSpPr>
      <dsp:spPr>
        <a:xfrm rot="5400000">
          <a:off x="5564463" y="669931"/>
          <a:ext cx="950941" cy="1582345"/>
        </a:xfrm>
        <a:prstGeom prst="corner">
          <a:avLst>
            <a:gd name="adj1" fmla="val 16120"/>
            <a:gd name="adj2" fmla="val 16110"/>
          </a:avLst>
        </a:prstGeom>
        <a:solidFill>
          <a:schemeClr val="accent3">
            <a:hueOff val="-299467"/>
            <a:satOff val="-12541"/>
            <a:lumOff val="-8000"/>
            <a:alphaOff val="0"/>
          </a:schemeClr>
        </a:solidFill>
        <a:ln w="12700" cap="flat" cmpd="sng" algn="ctr">
          <a:solidFill>
            <a:schemeClr val="accent3">
              <a:hueOff val="-299467"/>
              <a:satOff val="-12541"/>
              <a:lumOff val="-8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B515BFE-2370-4CEE-8AF0-9D7E3B283971}">
      <dsp:nvSpPr>
        <dsp:cNvPr id="0" name=""/>
        <dsp:cNvSpPr/>
      </dsp:nvSpPr>
      <dsp:spPr>
        <a:xfrm>
          <a:off x="5405728" y="1142712"/>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3</a:t>
          </a:r>
          <a:endParaRPr lang="en-GB" sz="1600" b="1" kern="1200"/>
        </a:p>
      </dsp:txBody>
      <dsp:txXfrm>
        <a:off x="5405728" y="1142712"/>
        <a:ext cx="1428550" cy="1252207"/>
      </dsp:txXfrm>
    </dsp:sp>
    <dsp:sp modelId="{88BFB8A1-75E6-452C-8DA7-2FE5A74AD386}">
      <dsp:nvSpPr>
        <dsp:cNvPr id="0" name=""/>
        <dsp:cNvSpPr/>
      </dsp:nvSpPr>
      <dsp:spPr>
        <a:xfrm>
          <a:off x="6564740" y="553437"/>
          <a:ext cx="269537" cy="269537"/>
        </a:xfrm>
        <a:prstGeom prst="triangle">
          <a:avLst>
            <a:gd name="adj" fmla="val 100000"/>
          </a:avLst>
        </a:prstGeom>
        <a:solidFill>
          <a:schemeClr val="accent3">
            <a:hueOff val="-349378"/>
            <a:satOff val="-14631"/>
            <a:lumOff val="-9333"/>
            <a:alphaOff val="0"/>
          </a:schemeClr>
        </a:solidFill>
        <a:ln w="12700" cap="flat" cmpd="sng" algn="ctr">
          <a:solidFill>
            <a:schemeClr val="accent3">
              <a:hueOff val="-349378"/>
              <a:satOff val="-14631"/>
              <a:lumOff val="-9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E9BA351-73F7-409F-B4B1-A2A655520F77}">
      <dsp:nvSpPr>
        <dsp:cNvPr id="0" name=""/>
        <dsp:cNvSpPr/>
      </dsp:nvSpPr>
      <dsp:spPr>
        <a:xfrm rot="5400000">
          <a:off x="7313288" y="237183"/>
          <a:ext cx="950941" cy="1582345"/>
        </a:xfrm>
        <a:prstGeom prst="corner">
          <a:avLst>
            <a:gd name="adj1" fmla="val 16120"/>
            <a:gd name="adj2" fmla="val 16110"/>
          </a:avLst>
        </a:prstGeom>
        <a:solidFill>
          <a:schemeClr val="accent3">
            <a:hueOff val="-399289"/>
            <a:satOff val="-16721"/>
            <a:lumOff val="-10666"/>
            <a:alphaOff val="0"/>
          </a:schemeClr>
        </a:solidFill>
        <a:ln w="12700" cap="flat" cmpd="sng" algn="ctr">
          <a:solidFill>
            <a:schemeClr val="accent3">
              <a:hueOff val="-399289"/>
              <a:satOff val="-16721"/>
              <a:lumOff val="-1066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EEB8DCA-7F80-4F86-A4E7-2AF2E6EE681B}">
      <dsp:nvSpPr>
        <dsp:cNvPr id="0" name=""/>
        <dsp:cNvSpPr/>
      </dsp:nvSpPr>
      <dsp:spPr>
        <a:xfrm>
          <a:off x="7154552" y="709963"/>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4</a:t>
          </a:r>
          <a:endParaRPr lang="en-GB" sz="1600" b="1" kern="1200"/>
        </a:p>
      </dsp:txBody>
      <dsp:txXfrm>
        <a:off x="7154552" y="709963"/>
        <a:ext cx="1428550" cy="1252207"/>
      </dsp:txXfrm>
    </dsp:sp>
    <dsp:sp modelId="{D6B5D080-3D9C-44B4-A968-D596F89E3D8D}">
      <dsp:nvSpPr>
        <dsp:cNvPr id="0" name=""/>
        <dsp:cNvSpPr/>
      </dsp:nvSpPr>
      <dsp:spPr>
        <a:xfrm>
          <a:off x="8313564" y="120689"/>
          <a:ext cx="269537" cy="269537"/>
        </a:xfrm>
        <a:prstGeom prst="triangle">
          <a:avLst>
            <a:gd name="adj" fmla="val 100000"/>
          </a:avLst>
        </a:prstGeom>
        <a:solidFill>
          <a:schemeClr val="accent3">
            <a:hueOff val="-449200"/>
            <a:satOff val="-18811"/>
            <a:lumOff val="-12000"/>
            <a:alphaOff val="0"/>
          </a:schemeClr>
        </a:solidFill>
        <a:ln w="12700" cap="flat" cmpd="sng" algn="ctr">
          <a:solidFill>
            <a:schemeClr val="accent3">
              <a:hueOff val="-449200"/>
              <a:satOff val="-18811"/>
              <a:lumOff val="-12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A7361BB-FD1E-4D1C-B46A-69A340D50DA3}">
      <dsp:nvSpPr>
        <dsp:cNvPr id="0" name=""/>
        <dsp:cNvSpPr/>
      </dsp:nvSpPr>
      <dsp:spPr>
        <a:xfrm rot="5400000">
          <a:off x="9062112" y="-195564"/>
          <a:ext cx="950941" cy="1582345"/>
        </a:xfrm>
        <a:prstGeom prst="corner">
          <a:avLst>
            <a:gd name="adj1" fmla="val 16120"/>
            <a:gd name="adj2" fmla="val 16110"/>
          </a:avLst>
        </a:prstGeom>
        <a:solidFill>
          <a:schemeClr val="accent3">
            <a:hueOff val="-499111"/>
            <a:satOff val="-20901"/>
            <a:lumOff val="-13333"/>
            <a:alphaOff val="0"/>
          </a:schemeClr>
        </a:solidFill>
        <a:ln w="12700" cap="flat" cmpd="sng" algn="ctr">
          <a:solidFill>
            <a:schemeClr val="accent3">
              <a:hueOff val="-499111"/>
              <a:satOff val="-20901"/>
              <a:lumOff val="-13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42EFB01-A4C8-430A-B245-2D6DBFFD1CD1}">
      <dsp:nvSpPr>
        <dsp:cNvPr id="0" name=""/>
        <dsp:cNvSpPr/>
      </dsp:nvSpPr>
      <dsp:spPr>
        <a:xfrm>
          <a:off x="8903376" y="277215"/>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5</a:t>
          </a:r>
          <a:endParaRPr lang="en-GB" sz="1600" b="1" kern="1200"/>
        </a:p>
      </dsp:txBody>
      <dsp:txXfrm>
        <a:off x="8903376" y="277215"/>
        <a:ext cx="1428550" cy="125220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172790" y="2246"/>
          <a:ext cx="2427447" cy="568966"/>
        </a:xfrm>
        <a:prstGeom prst="roundRect">
          <a:avLst>
            <a:gd name="adj" fmla="val 10000"/>
          </a:avLst>
        </a:prstGeom>
        <a:solidFill>
          <a:srgbClr val="6E969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1 Cyber Security Leadership and </a:t>
          </a:r>
          <a:r>
            <a:rPr kumimoji="0" lang="fr-FR" sz="1400" b="1" i="0" u="none" strike="noStrike" kern="1200" cap="none" spc="0" normalizeH="0" baseline="0" noProof="0" err="1">
              <a:ln>
                <a:noFill/>
              </a:ln>
              <a:solidFill>
                <a:prstClr val="white"/>
              </a:solidFill>
              <a:effectLst/>
              <a:uLnTx/>
              <a:uFillTx/>
              <a:latin typeface="Calibri"/>
              <a:ea typeface="+mn-ea"/>
              <a:cs typeface="+mn-cs"/>
            </a:rPr>
            <a:t>Governance</a:t>
          </a:r>
          <a:endParaRPr lang="en-GB" sz="1400" kern="1200">
            <a:solidFill>
              <a:schemeClr val="tx1"/>
            </a:solidFill>
          </a:endParaRPr>
        </a:p>
      </dsp:txBody>
      <dsp:txXfrm>
        <a:off x="189454" y="18910"/>
        <a:ext cx="2394119" cy="535638"/>
      </dsp:txXfrm>
    </dsp:sp>
    <dsp:sp modelId="{21BBA50E-DC8E-4CBB-89B9-5B8869409D70}">
      <dsp:nvSpPr>
        <dsp:cNvPr id="0" name=""/>
        <dsp:cNvSpPr/>
      </dsp:nvSpPr>
      <dsp:spPr>
        <a:xfrm>
          <a:off x="415535" y="571213"/>
          <a:ext cx="242744" cy="292975"/>
        </a:xfrm>
        <a:custGeom>
          <a:avLst/>
          <a:gdLst/>
          <a:ahLst/>
          <a:cxnLst/>
          <a:rect l="0" t="0" r="0" b="0"/>
          <a:pathLst>
            <a:path>
              <a:moveTo>
                <a:pt x="0" y="0"/>
              </a:moveTo>
              <a:lnTo>
                <a:pt x="0" y="292975"/>
              </a:lnTo>
              <a:lnTo>
                <a:pt x="242744" y="29297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658280" y="668871"/>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1 Cyber Security Governance</a:t>
          </a:r>
        </a:p>
      </dsp:txBody>
      <dsp:txXfrm>
        <a:off x="669721" y="680312"/>
        <a:ext cx="1919076" cy="367752"/>
      </dsp:txXfrm>
    </dsp:sp>
    <dsp:sp modelId="{91D3B5D1-FAD0-4492-9EDB-F1D4FDE1B420}">
      <dsp:nvSpPr>
        <dsp:cNvPr id="0" name=""/>
        <dsp:cNvSpPr/>
      </dsp:nvSpPr>
      <dsp:spPr>
        <a:xfrm>
          <a:off x="415535" y="571213"/>
          <a:ext cx="242744" cy="781268"/>
        </a:xfrm>
        <a:custGeom>
          <a:avLst/>
          <a:gdLst/>
          <a:ahLst/>
          <a:cxnLst/>
          <a:rect l="0" t="0" r="0" b="0"/>
          <a:pathLst>
            <a:path>
              <a:moveTo>
                <a:pt x="0" y="0"/>
              </a:moveTo>
              <a:lnTo>
                <a:pt x="0" y="781268"/>
              </a:lnTo>
              <a:lnTo>
                <a:pt x="242744" y="78126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2F0E69F-01C2-45AA-ADDD-E56A602EA7A1}">
      <dsp:nvSpPr>
        <dsp:cNvPr id="0" name=""/>
        <dsp:cNvSpPr/>
      </dsp:nvSpPr>
      <dsp:spPr>
        <a:xfrm>
          <a:off x="658280" y="1157164"/>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2 Cyber Security Strategy</a:t>
          </a:r>
        </a:p>
      </dsp:txBody>
      <dsp:txXfrm>
        <a:off x="669721" y="1168605"/>
        <a:ext cx="1919076" cy="367752"/>
      </dsp:txXfrm>
    </dsp:sp>
    <dsp:sp modelId="{3251501F-9DA6-4EB2-9025-506F45A93DFD}">
      <dsp:nvSpPr>
        <dsp:cNvPr id="0" name=""/>
        <dsp:cNvSpPr/>
      </dsp:nvSpPr>
      <dsp:spPr>
        <a:xfrm>
          <a:off x="415535" y="571213"/>
          <a:ext cx="242744" cy="1269561"/>
        </a:xfrm>
        <a:custGeom>
          <a:avLst/>
          <a:gdLst/>
          <a:ahLst/>
          <a:cxnLst/>
          <a:rect l="0" t="0" r="0" b="0"/>
          <a:pathLst>
            <a:path>
              <a:moveTo>
                <a:pt x="0" y="0"/>
              </a:moveTo>
              <a:lnTo>
                <a:pt x="0" y="1269561"/>
              </a:lnTo>
              <a:lnTo>
                <a:pt x="242744" y="126956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2919AB8-2170-4B6F-9551-6E252CD8CE44}">
      <dsp:nvSpPr>
        <dsp:cNvPr id="0" name=""/>
        <dsp:cNvSpPr/>
      </dsp:nvSpPr>
      <dsp:spPr>
        <a:xfrm>
          <a:off x="658280" y="1645457"/>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3 Cyber Security Policy</a:t>
          </a:r>
        </a:p>
      </dsp:txBody>
      <dsp:txXfrm>
        <a:off x="669721" y="1656898"/>
        <a:ext cx="1919076" cy="367752"/>
      </dsp:txXfrm>
    </dsp:sp>
    <dsp:sp modelId="{55E2CD92-AD9E-40C8-A5BC-1A47AF157B0C}">
      <dsp:nvSpPr>
        <dsp:cNvPr id="0" name=""/>
        <dsp:cNvSpPr/>
      </dsp:nvSpPr>
      <dsp:spPr>
        <a:xfrm>
          <a:off x="415535" y="571213"/>
          <a:ext cx="242744" cy="1757853"/>
        </a:xfrm>
        <a:custGeom>
          <a:avLst/>
          <a:gdLst/>
          <a:ahLst/>
          <a:cxnLst/>
          <a:rect l="0" t="0" r="0" b="0"/>
          <a:pathLst>
            <a:path>
              <a:moveTo>
                <a:pt x="0" y="0"/>
              </a:moveTo>
              <a:lnTo>
                <a:pt x="0" y="1757853"/>
              </a:lnTo>
              <a:lnTo>
                <a:pt x="242744" y="175785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66A0D68-1607-41F0-A267-C796415DBEE3}">
      <dsp:nvSpPr>
        <dsp:cNvPr id="0" name=""/>
        <dsp:cNvSpPr/>
      </dsp:nvSpPr>
      <dsp:spPr>
        <a:xfrm>
          <a:off x="658280" y="2133749"/>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4 Cyber Security Roles and Responsibilities</a:t>
          </a:r>
          <a:endParaRPr lang="en-GB" sz="1200" kern="1200">
            <a:solidFill>
              <a:schemeClr val="tx1"/>
            </a:solidFill>
          </a:endParaRPr>
        </a:p>
      </dsp:txBody>
      <dsp:txXfrm>
        <a:off x="669721" y="2145190"/>
        <a:ext cx="1919076" cy="367752"/>
      </dsp:txXfrm>
    </dsp:sp>
    <dsp:sp modelId="{187FC86E-8BAF-4D13-93CC-7BCD000E8A83}">
      <dsp:nvSpPr>
        <dsp:cNvPr id="0" name=""/>
        <dsp:cNvSpPr/>
      </dsp:nvSpPr>
      <dsp:spPr>
        <a:xfrm>
          <a:off x="415535" y="571213"/>
          <a:ext cx="242744" cy="2246146"/>
        </a:xfrm>
        <a:custGeom>
          <a:avLst/>
          <a:gdLst/>
          <a:ahLst/>
          <a:cxnLst/>
          <a:rect l="0" t="0" r="0" b="0"/>
          <a:pathLst>
            <a:path>
              <a:moveTo>
                <a:pt x="0" y="0"/>
              </a:moveTo>
              <a:lnTo>
                <a:pt x="0" y="2246146"/>
              </a:lnTo>
              <a:lnTo>
                <a:pt x="242744" y="224614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658280" y="2622042"/>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5 Cyber Security in Project Management</a:t>
          </a:r>
          <a:endParaRPr lang="en-GB" sz="1200" kern="1200">
            <a:solidFill>
              <a:schemeClr val="tx1"/>
            </a:solidFill>
          </a:endParaRPr>
        </a:p>
      </dsp:txBody>
      <dsp:txXfrm>
        <a:off x="669721" y="2633483"/>
        <a:ext cx="1919076" cy="367752"/>
      </dsp:txXfrm>
    </dsp:sp>
    <dsp:sp modelId="{CB0950A0-E07E-409A-B414-19688D1AE367}">
      <dsp:nvSpPr>
        <dsp:cNvPr id="0" name=""/>
        <dsp:cNvSpPr/>
      </dsp:nvSpPr>
      <dsp:spPr>
        <a:xfrm>
          <a:off x="415535" y="571213"/>
          <a:ext cx="242744" cy="2734439"/>
        </a:xfrm>
        <a:custGeom>
          <a:avLst/>
          <a:gdLst/>
          <a:ahLst/>
          <a:cxnLst/>
          <a:rect l="0" t="0" r="0" b="0"/>
          <a:pathLst>
            <a:path>
              <a:moveTo>
                <a:pt x="0" y="0"/>
              </a:moveTo>
              <a:lnTo>
                <a:pt x="0" y="2734439"/>
              </a:lnTo>
              <a:lnTo>
                <a:pt x="242744" y="273443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71EA43-23A4-455C-A454-915B5C5A986F}">
      <dsp:nvSpPr>
        <dsp:cNvPr id="0" name=""/>
        <dsp:cNvSpPr/>
      </dsp:nvSpPr>
      <dsp:spPr>
        <a:xfrm>
          <a:off x="658280" y="3110335"/>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6 Cyber Security Awareness</a:t>
          </a:r>
        </a:p>
      </dsp:txBody>
      <dsp:txXfrm>
        <a:off x="669721" y="3121776"/>
        <a:ext cx="1919076" cy="367752"/>
      </dsp:txXfrm>
    </dsp:sp>
    <dsp:sp modelId="{F488420A-84AF-41A8-984C-828B62833792}">
      <dsp:nvSpPr>
        <dsp:cNvPr id="0" name=""/>
        <dsp:cNvSpPr/>
      </dsp:nvSpPr>
      <dsp:spPr>
        <a:xfrm>
          <a:off x="415535" y="571213"/>
          <a:ext cx="242744" cy="3222732"/>
        </a:xfrm>
        <a:custGeom>
          <a:avLst/>
          <a:gdLst/>
          <a:ahLst/>
          <a:cxnLst/>
          <a:rect l="0" t="0" r="0" b="0"/>
          <a:pathLst>
            <a:path>
              <a:moveTo>
                <a:pt x="0" y="0"/>
              </a:moveTo>
              <a:lnTo>
                <a:pt x="0" y="3222732"/>
              </a:lnTo>
              <a:lnTo>
                <a:pt x="242744" y="322273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3DBFBCB-8163-469A-80C1-D07B7F258C80}">
      <dsp:nvSpPr>
        <dsp:cNvPr id="0" name=""/>
        <dsp:cNvSpPr/>
      </dsp:nvSpPr>
      <dsp:spPr>
        <a:xfrm>
          <a:off x="658280" y="3598628"/>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7 Cyber Security Training</a:t>
          </a:r>
        </a:p>
      </dsp:txBody>
      <dsp:txXfrm>
        <a:off x="669721" y="3610069"/>
        <a:ext cx="1919076" cy="36775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28E8EF-311E-4529-8EA9-0B076C2F0DC6}">
      <dsp:nvSpPr>
        <dsp:cNvPr id="0" name=""/>
        <dsp:cNvSpPr/>
      </dsp:nvSpPr>
      <dsp:spPr>
        <a:xfrm>
          <a:off x="1335" y="138645"/>
          <a:ext cx="2770356" cy="569364"/>
        </a:xfrm>
        <a:prstGeom prst="roundRect">
          <a:avLst>
            <a:gd name="adj" fmla="val 10000"/>
          </a:avLst>
        </a:prstGeom>
        <a:solidFill>
          <a:srgbClr val="877F67"/>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ClrTx/>
            <a:buSzTx/>
            <a:buFontTx/>
            <a:buNone/>
          </a:pPr>
          <a:r>
            <a:rPr kumimoji="0" lang="fr-FR" sz="1400" b="1" i="0" u="none" strike="noStrike" kern="1200" cap="none" spc="0" normalizeH="0" baseline="0" noProof="0">
              <a:ln>
                <a:noFill/>
              </a:ln>
              <a:solidFill>
                <a:prstClr val="white"/>
              </a:solidFill>
              <a:effectLst/>
              <a:uLnTx/>
              <a:uFillTx/>
              <a:latin typeface="Calibri"/>
              <a:ea typeface="+mn-ea"/>
              <a:cs typeface="+mn-cs"/>
            </a:rPr>
            <a:t>3.4 </a:t>
          </a:r>
          <a:r>
            <a:rPr kumimoji="0" lang="fr-FR" sz="1400" b="1" i="0" u="none" strike="noStrike" kern="1200" cap="none" spc="0" normalizeH="0" baseline="0" noProof="0" err="1">
              <a:ln>
                <a:noFill/>
              </a:ln>
              <a:solidFill>
                <a:prstClr val="white"/>
              </a:solidFill>
              <a:effectLst/>
              <a:uLnTx/>
              <a:uFillTx/>
              <a:latin typeface="Calibri"/>
              <a:ea typeface="+mn-ea"/>
              <a:cs typeface="+mn-cs"/>
            </a:rPr>
            <a:t>Third</a:t>
          </a:r>
          <a:r>
            <a:rPr kumimoji="0" lang="fr-FR" sz="1400" b="1" i="0" u="none" strike="noStrike" kern="1200" cap="none" spc="0" normalizeH="0" baseline="0" noProof="0">
              <a:ln>
                <a:noFill/>
              </a:ln>
              <a:solidFill>
                <a:prstClr val="white"/>
              </a:solidFill>
              <a:effectLst/>
              <a:uLnTx/>
              <a:uFillTx/>
              <a:latin typeface="Calibri"/>
              <a:ea typeface="+mn-ea"/>
              <a:cs typeface="+mn-cs"/>
            </a:rPr>
            <a:t> Party Cyber Security</a:t>
          </a:r>
          <a:endParaRPr kumimoji="0" lang="en-GB" sz="1400" b="1" i="0" u="none" strike="noStrike" kern="1200" cap="none" spc="0" normalizeH="0" baseline="0">
            <a:ln>
              <a:noFill/>
            </a:ln>
            <a:solidFill>
              <a:prstClr val="white"/>
            </a:solidFill>
            <a:effectLst/>
            <a:uLnTx/>
            <a:uFillTx/>
            <a:latin typeface="Calibri"/>
            <a:ea typeface="+mn-ea"/>
            <a:cs typeface="+mn-cs"/>
          </a:endParaRPr>
        </a:p>
      </dsp:txBody>
      <dsp:txXfrm>
        <a:off x="18011" y="155321"/>
        <a:ext cx="2737004" cy="536012"/>
      </dsp:txXfrm>
    </dsp:sp>
    <dsp:sp modelId="{9E050A7C-33F7-4DB8-A522-813A440E9C03}">
      <dsp:nvSpPr>
        <dsp:cNvPr id="0" name=""/>
        <dsp:cNvSpPr/>
      </dsp:nvSpPr>
      <dsp:spPr>
        <a:xfrm>
          <a:off x="278371" y="708009"/>
          <a:ext cx="277035" cy="340340"/>
        </a:xfrm>
        <a:custGeom>
          <a:avLst/>
          <a:gdLst/>
          <a:ahLst/>
          <a:cxnLst/>
          <a:rect l="0" t="0" r="0" b="0"/>
          <a:pathLst>
            <a:path>
              <a:moveTo>
                <a:pt x="0" y="0"/>
              </a:moveTo>
              <a:lnTo>
                <a:pt x="0" y="340340"/>
              </a:lnTo>
              <a:lnTo>
                <a:pt x="277035" y="340340"/>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C5D94FBB-A394-4442-B887-B9ADF1863244}">
      <dsp:nvSpPr>
        <dsp:cNvPr id="0" name=""/>
        <dsp:cNvSpPr/>
      </dsp:nvSpPr>
      <dsp:spPr>
        <a:xfrm>
          <a:off x="555407" y="85035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5 Cyber Security in Project Management</a:t>
          </a:r>
          <a:endParaRPr lang="en-GB" sz="1200" kern="1200">
            <a:solidFill>
              <a:schemeClr val="tx1"/>
            </a:solidFill>
          </a:endParaRPr>
        </a:p>
      </dsp:txBody>
      <dsp:txXfrm>
        <a:off x="567005" y="861948"/>
        <a:ext cx="2172801" cy="372802"/>
      </dsp:txXfrm>
    </dsp:sp>
    <dsp:sp modelId="{31CDA2F8-4734-4D74-84AF-1CA56B032914}">
      <dsp:nvSpPr>
        <dsp:cNvPr id="0" name=""/>
        <dsp:cNvSpPr/>
      </dsp:nvSpPr>
      <dsp:spPr>
        <a:xfrm>
          <a:off x="278371" y="708009"/>
          <a:ext cx="277035" cy="878680"/>
        </a:xfrm>
        <a:custGeom>
          <a:avLst/>
          <a:gdLst/>
          <a:ahLst/>
          <a:cxnLst/>
          <a:rect l="0" t="0" r="0" b="0"/>
          <a:pathLst>
            <a:path>
              <a:moveTo>
                <a:pt x="0" y="0"/>
              </a:moveTo>
              <a:lnTo>
                <a:pt x="0" y="878680"/>
              </a:lnTo>
              <a:lnTo>
                <a:pt x="277035" y="878680"/>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40E4265C-3B0A-43B7-98B0-2A4BF9DCDA56}">
      <dsp:nvSpPr>
        <dsp:cNvPr id="0" name=""/>
        <dsp:cNvSpPr/>
      </dsp:nvSpPr>
      <dsp:spPr>
        <a:xfrm>
          <a:off x="555407" y="138869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6 Cyber Security Awareness</a:t>
          </a:r>
        </a:p>
      </dsp:txBody>
      <dsp:txXfrm>
        <a:off x="567005" y="1400288"/>
        <a:ext cx="2172801" cy="372802"/>
      </dsp:txXfrm>
    </dsp:sp>
    <dsp:sp modelId="{A8063AC4-6572-4B2D-BC44-C17FA99F9AED}">
      <dsp:nvSpPr>
        <dsp:cNvPr id="0" name=""/>
        <dsp:cNvSpPr/>
      </dsp:nvSpPr>
      <dsp:spPr>
        <a:xfrm>
          <a:off x="278371" y="708009"/>
          <a:ext cx="277035" cy="1417019"/>
        </a:xfrm>
        <a:custGeom>
          <a:avLst/>
          <a:gdLst/>
          <a:ahLst/>
          <a:cxnLst/>
          <a:rect l="0" t="0" r="0" b="0"/>
          <a:pathLst>
            <a:path>
              <a:moveTo>
                <a:pt x="0" y="0"/>
              </a:moveTo>
              <a:lnTo>
                <a:pt x="0" y="1417019"/>
              </a:lnTo>
              <a:lnTo>
                <a:pt x="277035" y="1417019"/>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35852FE5-C66A-423F-9677-4DE361FC845A}">
      <dsp:nvSpPr>
        <dsp:cNvPr id="0" name=""/>
        <dsp:cNvSpPr/>
      </dsp:nvSpPr>
      <dsp:spPr>
        <a:xfrm>
          <a:off x="555407" y="192703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7 Cyber Security Training</a:t>
          </a:r>
        </a:p>
      </dsp:txBody>
      <dsp:txXfrm>
        <a:off x="567005" y="1938628"/>
        <a:ext cx="2172801" cy="37280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302" y="388413"/>
          <a:ext cx="2772423" cy="576000"/>
        </a:xfrm>
        <a:prstGeom prst="roundRect">
          <a:avLst>
            <a:gd name="adj" fmla="val 10000"/>
          </a:avLst>
        </a:prstGeom>
        <a:solidFill>
          <a:srgbClr val="90666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en-US" sz="1400" b="1" i="0" u="none" strike="noStrike" kern="1200" cap="none" spc="0" normalizeH="0" baseline="0" noProof="0">
              <a:ln>
                <a:noFill/>
              </a:ln>
              <a:solidFill>
                <a:prstClr val="white"/>
              </a:solidFill>
              <a:effectLst/>
              <a:uLnTx/>
              <a:uFillTx/>
              <a:latin typeface="Calibri"/>
              <a:ea typeface="+mn-ea"/>
              <a:cs typeface="+mn-cs"/>
            </a:rPr>
            <a:t>3.2 Cyber Security Risk Management and Compliance</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sp:txBody>
      <dsp:txXfrm>
        <a:off x="17172" y="405283"/>
        <a:ext cx="2738683" cy="542260"/>
      </dsp:txXfrm>
    </dsp:sp>
    <dsp:sp modelId="{21BBA50E-DC8E-4CBB-89B9-5B8869409D70}">
      <dsp:nvSpPr>
        <dsp:cNvPr id="0" name=""/>
        <dsp:cNvSpPr/>
      </dsp:nvSpPr>
      <dsp:spPr>
        <a:xfrm>
          <a:off x="277545" y="964413"/>
          <a:ext cx="277242" cy="334611"/>
        </a:xfrm>
        <a:custGeom>
          <a:avLst/>
          <a:gdLst/>
          <a:ahLst/>
          <a:cxnLst/>
          <a:rect l="0" t="0" r="0" b="0"/>
          <a:pathLst>
            <a:path>
              <a:moveTo>
                <a:pt x="0" y="0"/>
              </a:moveTo>
              <a:lnTo>
                <a:pt x="0" y="334611"/>
              </a:lnTo>
              <a:lnTo>
                <a:pt x="277242" y="33461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554787" y="1075951"/>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1 Cyber Security Risk Management</a:t>
          </a:r>
          <a:endParaRPr lang="en-GB" sz="1200" kern="1200">
            <a:solidFill>
              <a:schemeClr val="tx1"/>
            </a:solidFill>
          </a:endParaRPr>
        </a:p>
      </dsp:txBody>
      <dsp:txXfrm>
        <a:off x="567854" y="1089018"/>
        <a:ext cx="2191804" cy="420014"/>
      </dsp:txXfrm>
    </dsp:sp>
    <dsp:sp modelId="{91D3B5D1-FAD0-4492-9EDB-F1D4FDE1B420}">
      <dsp:nvSpPr>
        <dsp:cNvPr id="0" name=""/>
        <dsp:cNvSpPr/>
      </dsp:nvSpPr>
      <dsp:spPr>
        <a:xfrm>
          <a:off x="277545" y="964413"/>
          <a:ext cx="277242" cy="892297"/>
        </a:xfrm>
        <a:custGeom>
          <a:avLst/>
          <a:gdLst/>
          <a:ahLst/>
          <a:cxnLst/>
          <a:rect l="0" t="0" r="0" b="0"/>
          <a:pathLst>
            <a:path>
              <a:moveTo>
                <a:pt x="0" y="0"/>
              </a:moveTo>
              <a:lnTo>
                <a:pt x="0" y="892297"/>
              </a:lnTo>
              <a:lnTo>
                <a:pt x="277242" y="89229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2F0E69F-01C2-45AA-ADDD-E56A602EA7A1}">
      <dsp:nvSpPr>
        <dsp:cNvPr id="0" name=""/>
        <dsp:cNvSpPr/>
      </dsp:nvSpPr>
      <dsp:spPr>
        <a:xfrm>
          <a:off x="554787" y="1633637"/>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GB"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2 Regulatory Compliance</a:t>
          </a:r>
          <a:endParaRPr lang="en-GB" sz="1200" kern="1200">
            <a:solidFill>
              <a:schemeClr val="tx1"/>
            </a:solidFill>
          </a:endParaRPr>
        </a:p>
      </dsp:txBody>
      <dsp:txXfrm>
        <a:off x="567854" y="1646704"/>
        <a:ext cx="2191804" cy="420014"/>
      </dsp:txXfrm>
    </dsp:sp>
    <dsp:sp modelId="{3251501F-9DA6-4EB2-9025-506F45A93DFD}">
      <dsp:nvSpPr>
        <dsp:cNvPr id="0" name=""/>
        <dsp:cNvSpPr/>
      </dsp:nvSpPr>
      <dsp:spPr>
        <a:xfrm>
          <a:off x="277545" y="964413"/>
          <a:ext cx="277242" cy="1449984"/>
        </a:xfrm>
        <a:custGeom>
          <a:avLst/>
          <a:gdLst/>
          <a:ahLst/>
          <a:cxnLst/>
          <a:rect l="0" t="0" r="0" b="0"/>
          <a:pathLst>
            <a:path>
              <a:moveTo>
                <a:pt x="0" y="0"/>
              </a:moveTo>
              <a:lnTo>
                <a:pt x="0" y="1449984"/>
              </a:lnTo>
              <a:lnTo>
                <a:pt x="277242" y="144998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2919AB8-2170-4B6F-9551-6E252CD8CE44}">
      <dsp:nvSpPr>
        <dsp:cNvPr id="0" name=""/>
        <dsp:cNvSpPr/>
      </dsp:nvSpPr>
      <dsp:spPr>
        <a:xfrm>
          <a:off x="554787" y="2191323"/>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0" tIns="15240" rIns="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3 Compliance with (inter)national industry standards</a:t>
          </a:r>
          <a:endParaRPr lang="en-GB" sz="1200" kern="1200">
            <a:solidFill>
              <a:schemeClr val="tx1"/>
            </a:solidFill>
          </a:endParaRPr>
        </a:p>
      </dsp:txBody>
      <dsp:txXfrm>
        <a:off x="567854" y="2204390"/>
        <a:ext cx="2191804" cy="420014"/>
      </dsp:txXfrm>
    </dsp:sp>
    <dsp:sp modelId="{55E2CD92-AD9E-40C8-A5BC-1A47AF157B0C}">
      <dsp:nvSpPr>
        <dsp:cNvPr id="0" name=""/>
        <dsp:cNvSpPr/>
      </dsp:nvSpPr>
      <dsp:spPr>
        <a:xfrm>
          <a:off x="277545" y="964413"/>
          <a:ext cx="277242" cy="2007670"/>
        </a:xfrm>
        <a:custGeom>
          <a:avLst/>
          <a:gdLst/>
          <a:ahLst/>
          <a:cxnLst/>
          <a:rect l="0" t="0" r="0" b="0"/>
          <a:pathLst>
            <a:path>
              <a:moveTo>
                <a:pt x="0" y="0"/>
              </a:moveTo>
              <a:lnTo>
                <a:pt x="0" y="2007670"/>
              </a:lnTo>
              <a:lnTo>
                <a:pt x="277242" y="200767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66A0D68-1607-41F0-A267-C796415DBEE3}">
      <dsp:nvSpPr>
        <dsp:cNvPr id="0" name=""/>
        <dsp:cNvSpPr/>
      </dsp:nvSpPr>
      <dsp:spPr>
        <a:xfrm>
          <a:off x="554787" y="2749009"/>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4 Cyber Security Review</a:t>
          </a:r>
          <a:endParaRPr lang="en-GB" sz="1200" kern="1200">
            <a:solidFill>
              <a:schemeClr val="tx1"/>
            </a:solidFill>
          </a:endParaRPr>
        </a:p>
      </dsp:txBody>
      <dsp:txXfrm>
        <a:off x="567854" y="2762076"/>
        <a:ext cx="2191804" cy="420014"/>
      </dsp:txXfrm>
    </dsp:sp>
    <dsp:sp modelId="{187FC86E-8BAF-4D13-93CC-7BCD000E8A83}">
      <dsp:nvSpPr>
        <dsp:cNvPr id="0" name=""/>
        <dsp:cNvSpPr/>
      </dsp:nvSpPr>
      <dsp:spPr>
        <a:xfrm>
          <a:off x="277545" y="964413"/>
          <a:ext cx="277242" cy="2565356"/>
        </a:xfrm>
        <a:custGeom>
          <a:avLst/>
          <a:gdLst/>
          <a:ahLst/>
          <a:cxnLst/>
          <a:rect l="0" t="0" r="0" b="0"/>
          <a:pathLst>
            <a:path>
              <a:moveTo>
                <a:pt x="0" y="0"/>
              </a:moveTo>
              <a:lnTo>
                <a:pt x="0" y="2565356"/>
              </a:lnTo>
              <a:lnTo>
                <a:pt x="277242" y="256535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554787" y="3306695"/>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5 Cyber Security Audit</a:t>
          </a:r>
          <a:endParaRPr lang="en-GB" sz="1200" kern="1200">
            <a:solidFill>
              <a:schemeClr val="tx1"/>
            </a:solidFill>
          </a:endParaRPr>
        </a:p>
      </dsp:txBody>
      <dsp:txXfrm>
        <a:off x="567854" y="3319762"/>
        <a:ext cx="2191804" cy="42001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204343" y="4856"/>
          <a:ext cx="2364342" cy="581170"/>
        </a:xfrm>
        <a:prstGeom prst="roundRect">
          <a:avLst>
            <a:gd name="adj" fmla="val 10000"/>
          </a:avLst>
        </a:prstGeom>
        <a:solidFill>
          <a:schemeClr val="accent6">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3 Cyber Security Operations and </a:t>
          </a:r>
          <a:r>
            <a:rPr kumimoji="0" lang="fr-FR" sz="1400" b="1" i="0" u="none" strike="noStrike" kern="1200" cap="none" spc="0" normalizeH="0" baseline="0" noProof="0" err="1">
              <a:ln>
                <a:noFill/>
              </a:ln>
              <a:solidFill>
                <a:prstClr val="white"/>
              </a:solidFill>
              <a:effectLst/>
              <a:uLnTx/>
              <a:uFillTx/>
              <a:latin typeface="Calibri"/>
              <a:ea typeface="+mn-ea"/>
              <a:cs typeface="+mn-cs"/>
            </a:rPr>
            <a:t>Technology</a:t>
          </a:r>
          <a:r>
            <a:rPr kumimoji="0" lang="fr-FR" sz="1400" b="1" i="0" u="none" strike="noStrike" kern="1200" cap="none" spc="0" normalizeH="0" baseline="0" noProof="0">
              <a:ln>
                <a:noFill/>
              </a:ln>
              <a:solidFill>
                <a:prstClr val="white"/>
              </a:solidFill>
              <a:effectLst/>
              <a:uLnTx/>
              <a:uFillTx/>
              <a:latin typeface="Calibri"/>
              <a:ea typeface="+mn-ea"/>
              <a:cs typeface="+mn-cs"/>
            </a:rPr>
            <a:t> </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sp:txBody>
      <dsp:txXfrm>
        <a:off x="221365" y="21878"/>
        <a:ext cx="2330298" cy="547126"/>
      </dsp:txXfrm>
    </dsp:sp>
    <dsp:sp modelId="{21BBA50E-DC8E-4CBB-89B9-5B8869409D70}">
      <dsp:nvSpPr>
        <dsp:cNvPr id="0" name=""/>
        <dsp:cNvSpPr/>
      </dsp:nvSpPr>
      <dsp:spPr>
        <a:xfrm>
          <a:off x="440777" y="586027"/>
          <a:ext cx="236434" cy="285359"/>
        </a:xfrm>
        <a:custGeom>
          <a:avLst/>
          <a:gdLst/>
          <a:ahLst/>
          <a:cxnLst/>
          <a:rect l="0" t="0" r="0" b="0"/>
          <a:pathLst>
            <a:path>
              <a:moveTo>
                <a:pt x="0" y="0"/>
              </a:moveTo>
              <a:lnTo>
                <a:pt x="0" y="285359"/>
              </a:lnTo>
              <a:lnTo>
                <a:pt x="236434" y="28535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677211" y="681147"/>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3.1 Human Resources</a:t>
          </a:r>
        </a:p>
      </dsp:txBody>
      <dsp:txXfrm>
        <a:off x="688355" y="692291"/>
        <a:ext cx="1868552" cy="358191"/>
      </dsp:txXfrm>
    </dsp:sp>
    <dsp:sp modelId="{75C1689C-A102-40CB-B27B-68EA8FA2A959}">
      <dsp:nvSpPr>
        <dsp:cNvPr id="0" name=""/>
        <dsp:cNvSpPr/>
      </dsp:nvSpPr>
      <dsp:spPr>
        <a:xfrm>
          <a:off x="440777" y="586027"/>
          <a:ext cx="236434" cy="760958"/>
        </a:xfrm>
        <a:custGeom>
          <a:avLst/>
          <a:gdLst/>
          <a:ahLst/>
          <a:cxnLst/>
          <a:rect l="0" t="0" r="0" b="0"/>
          <a:pathLst>
            <a:path>
              <a:moveTo>
                <a:pt x="0" y="0"/>
              </a:moveTo>
              <a:lnTo>
                <a:pt x="0" y="760958"/>
              </a:lnTo>
              <a:lnTo>
                <a:pt x="236434" y="76095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6EA8C61-3FE3-40B2-9382-F6FF594388CD}">
      <dsp:nvSpPr>
        <dsp:cNvPr id="0" name=""/>
        <dsp:cNvSpPr/>
      </dsp:nvSpPr>
      <dsp:spPr>
        <a:xfrm>
          <a:off x="677211" y="1156745"/>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2 Physical Security</a:t>
          </a:r>
        </a:p>
      </dsp:txBody>
      <dsp:txXfrm>
        <a:off x="688355" y="1167889"/>
        <a:ext cx="1868552" cy="358191"/>
      </dsp:txXfrm>
    </dsp:sp>
    <dsp:sp modelId="{F0F5B2CB-EC7A-4729-A8A0-CCE1832F9977}">
      <dsp:nvSpPr>
        <dsp:cNvPr id="0" name=""/>
        <dsp:cNvSpPr/>
      </dsp:nvSpPr>
      <dsp:spPr>
        <a:xfrm>
          <a:off x="440777" y="586027"/>
          <a:ext cx="236434" cy="1236556"/>
        </a:xfrm>
        <a:custGeom>
          <a:avLst/>
          <a:gdLst/>
          <a:ahLst/>
          <a:cxnLst/>
          <a:rect l="0" t="0" r="0" b="0"/>
          <a:pathLst>
            <a:path>
              <a:moveTo>
                <a:pt x="0" y="0"/>
              </a:moveTo>
              <a:lnTo>
                <a:pt x="0" y="1236556"/>
              </a:lnTo>
              <a:lnTo>
                <a:pt x="236434" y="123655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00C9E4F-E890-44DF-B1B9-EE137EE26833}">
      <dsp:nvSpPr>
        <dsp:cNvPr id="0" name=""/>
        <dsp:cNvSpPr/>
      </dsp:nvSpPr>
      <dsp:spPr>
        <a:xfrm>
          <a:off x="677211" y="1632344"/>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3 Asset Management</a:t>
          </a:r>
        </a:p>
      </dsp:txBody>
      <dsp:txXfrm>
        <a:off x="688355" y="1643488"/>
        <a:ext cx="1868552" cy="358191"/>
      </dsp:txXfrm>
    </dsp:sp>
    <dsp:sp modelId="{BFF80328-C787-4CF5-9F7F-E4FE96C0F05D}">
      <dsp:nvSpPr>
        <dsp:cNvPr id="0" name=""/>
        <dsp:cNvSpPr/>
      </dsp:nvSpPr>
      <dsp:spPr>
        <a:xfrm>
          <a:off x="440777" y="586027"/>
          <a:ext cx="236434" cy="1712155"/>
        </a:xfrm>
        <a:custGeom>
          <a:avLst/>
          <a:gdLst/>
          <a:ahLst/>
          <a:cxnLst/>
          <a:rect l="0" t="0" r="0" b="0"/>
          <a:pathLst>
            <a:path>
              <a:moveTo>
                <a:pt x="0" y="0"/>
              </a:moveTo>
              <a:lnTo>
                <a:pt x="0" y="1712155"/>
              </a:lnTo>
              <a:lnTo>
                <a:pt x="236434" y="171215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3DE6563-A688-4E43-B7BC-7751F768749C}">
      <dsp:nvSpPr>
        <dsp:cNvPr id="0" name=""/>
        <dsp:cNvSpPr/>
      </dsp:nvSpPr>
      <dsp:spPr>
        <a:xfrm>
          <a:off x="677211" y="2107943"/>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kern="1200">
              <a:solidFill>
                <a:schemeClr val="tx1"/>
              </a:solidFill>
            </a:rPr>
            <a:t>3.3.4 Cyber Security Architecture</a:t>
          </a:r>
          <a:endParaRPr lang="en-GB" sz="1100" kern="1200"/>
        </a:p>
      </dsp:txBody>
      <dsp:txXfrm>
        <a:off x="688355" y="2119087"/>
        <a:ext cx="1868552" cy="358191"/>
      </dsp:txXfrm>
    </dsp:sp>
    <dsp:sp modelId="{187FC86E-8BAF-4D13-93CC-7BCD000E8A83}">
      <dsp:nvSpPr>
        <dsp:cNvPr id="0" name=""/>
        <dsp:cNvSpPr/>
      </dsp:nvSpPr>
      <dsp:spPr>
        <a:xfrm>
          <a:off x="440777" y="586027"/>
          <a:ext cx="236434" cy="2187754"/>
        </a:xfrm>
        <a:custGeom>
          <a:avLst/>
          <a:gdLst/>
          <a:ahLst/>
          <a:cxnLst/>
          <a:rect l="0" t="0" r="0" b="0"/>
          <a:pathLst>
            <a:path>
              <a:moveTo>
                <a:pt x="0" y="0"/>
              </a:moveTo>
              <a:lnTo>
                <a:pt x="0" y="2187754"/>
              </a:lnTo>
              <a:lnTo>
                <a:pt x="236434" y="218775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677211" y="2583542"/>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b="0" i="0" u="none" strike="noStrike" kern="1200" baseline="0">
              <a:solidFill>
                <a:srgbClr val="000000"/>
              </a:solidFill>
              <a:latin typeface="Calibri" panose="020F0502020204030204" pitchFamily="34" charset="0"/>
            </a:rPr>
            <a:t>3.3.5 Identity and Access Management</a:t>
          </a:r>
          <a:endParaRPr lang="en-GB" sz="1200" kern="1200">
            <a:solidFill>
              <a:schemeClr val="tx1"/>
            </a:solidFill>
          </a:endParaRPr>
        </a:p>
      </dsp:txBody>
      <dsp:txXfrm>
        <a:off x="688355" y="2594686"/>
        <a:ext cx="1868552" cy="358191"/>
      </dsp:txXfrm>
    </dsp:sp>
    <dsp:sp modelId="{398C9C10-62BF-4F8B-A935-EB735D076568}">
      <dsp:nvSpPr>
        <dsp:cNvPr id="0" name=""/>
        <dsp:cNvSpPr/>
      </dsp:nvSpPr>
      <dsp:spPr>
        <a:xfrm>
          <a:off x="440777" y="586027"/>
          <a:ext cx="236434" cy="2663353"/>
        </a:xfrm>
        <a:custGeom>
          <a:avLst/>
          <a:gdLst/>
          <a:ahLst/>
          <a:cxnLst/>
          <a:rect l="0" t="0" r="0" b="0"/>
          <a:pathLst>
            <a:path>
              <a:moveTo>
                <a:pt x="0" y="0"/>
              </a:moveTo>
              <a:lnTo>
                <a:pt x="0" y="2663353"/>
              </a:lnTo>
              <a:lnTo>
                <a:pt x="236434" y="266335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AE0F236-EDEA-4EB3-BECD-2981E53A2DC9}">
      <dsp:nvSpPr>
        <dsp:cNvPr id="0" name=""/>
        <dsp:cNvSpPr/>
      </dsp:nvSpPr>
      <dsp:spPr>
        <a:xfrm>
          <a:off x="677211" y="3059141"/>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6 Application Security</a:t>
          </a:r>
          <a:endParaRPr lang="en-GB" sz="1100" kern="1200">
            <a:solidFill>
              <a:schemeClr val="tx1"/>
            </a:solidFill>
          </a:endParaRPr>
        </a:p>
      </dsp:txBody>
      <dsp:txXfrm>
        <a:off x="688355" y="3070285"/>
        <a:ext cx="1868552" cy="358191"/>
      </dsp:txXfrm>
    </dsp:sp>
    <dsp:sp modelId="{E1B3BB4A-0FA0-4F82-ACC8-45956CB57BAA}">
      <dsp:nvSpPr>
        <dsp:cNvPr id="0" name=""/>
        <dsp:cNvSpPr/>
      </dsp:nvSpPr>
      <dsp:spPr>
        <a:xfrm>
          <a:off x="440777" y="586027"/>
          <a:ext cx="236434" cy="3138952"/>
        </a:xfrm>
        <a:custGeom>
          <a:avLst/>
          <a:gdLst/>
          <a:ahLst/>
          <a:cxnLst/>
          <a:rect l="0" t="0" r="0" b="0"/>
          <a:pathLst>
            <a:path>
              <a:moveTo>
                <a:pt x="0" y="0"/>
              </a:moveTo>
              <a:lnTo>
                <a:pt x="0" y="3138952"/>
              </a:lnTo>
              <a:lnTo>
                <a:pt x="236434" y="313895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49B9BE2-429C-423A-8BD4-2FF22EE65203}">
      <dsp:nvSpPr>
        <dsp:cNvPr id="0" name=""/>
        <dsp:cNvSpPr/>
      </dsp:nvSpPr>
      <dsp:spPr>
        <a:xfrm>
          <a:off x="677211" y="3534740"/>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7 Change Management</a:t>
          </a:r>
        </a:p>
      </dsp:txBody>
      <dsp:txXfrm>
        <a:off x="688355" y="3545884"/>
        <a:ext cx="1868552" cy="358191"/>
      </dsp:txXfrm>
    </dsp:sp>
    <dsp:sp modelId="{B1316C1A-9F07-423E-9A47-AF4E6242D000}">
      <dsp:nvSpPr>
        <dsp:cNvPr id="0" name=""/>
        <dsp:cNvSpPr/>
      </dsp:nvSpPr>
      <dsp:spPr>
        <a:xfrm>
          <a:off x="440777" y="586027"/>
          <a:ext cx="236434" cy="3582844"/>
        </a:xfrm>
        <a:custGeom>
          <a:avLst/>
          <a:gdLst/>
          <a:ahLst/>
          <a:cxnLst/>
          <a:rect l="0" t="0" r="0" b="0"/>
          <a:pathLst>
            <a:path>
              <a:moveTo>
                <a:pt x="0" y="0"/>
              </a:moveTo>
              <a:lnTo>
                <a:pt x="0" y="3582844"/>
              </a:lnTo>
              <a:lnTo>
                <a:pt x="236434" y="358284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DDF2A54-9AA8-4A50-9170-2A0D20D1DE69}">
      <dsp:nvSpPr>
        <dsp:cNvPr id="0" name=""/>
        <dsp:cNvSpPr/>
      </dsp:nvSpPr>
      <dsp:spPr>
        <a:xfrm>
          <a:off x="677211" y="4010339"/>
          <a:ext cx="1890840" cy="317064"/>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9 Cryptography</a:t>
          </a:r>
        </a:p>
      </dsp:txBody>
      <dsp:txXfrm>
        <a:off x="686497" y="4019625"/>
        <a:ext cx="1872268" cy="298492"/>
      </dsp:txXfrm>
    </dsp:sp>
    <dsp:sp modelId="{A8CF1C19-15ED-4C74-8447-81938BA85F0D}">
      <dsp:nvSpPr>
        <dsp:cNvPr id="0" name=""/>
        <dsp:cNvSpPr/>
      </dsp:nvSpPr>
      <dsp:spPr>
        <a:xfrm>
          <a:off x="440777" y="586027"/>
          <a:ext cx="236434" cy="4026735"/>
        </a:xfrm>
        <a:custGeom>
          <a:avLst/>
          <a:gdLst/>
          <a:ahLst/>
          <a:cxnLst/>
          <a:rect l="0" t="0" r="0" b="0"/>
          <a:pathLst>
            <a:path>
              <a:moveTo>
                <a:pt x="0" y="0"/>
              </a:moveTo>
              <a:lnTo>
                <a:pt x="0" y="4026735"/>
              </a:lnTo>
              <a:lnTo>
                <a:pt x="236434" y="402673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050DACE-C5E6-46C4-8A5B-E14E09E65EE3}">
      <dsp:nvSpPr>
        <dsp:cNvPr id="0" name=""/>
        <dsp:cNvSpPr/>
      </dsp:nvSpPr>
      <dsp:spPr>
        <a:xfrm>
          <a:off x="677211" y="4422523"/>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0 Bring Your Own Device (BYOD)</a:t>
          </a:r>
          <a:endParaRPr lang="en-GB" sz="1100" kern="1200">
            <a:solidFill>
              <a:schemeClr val="tx1"/>
            </a:solidFill>
          </a:endParaRPr>
        </a:p>
      </dsp:txBody>
      <dsp:txXfrm>
        <a:off x="688355" y="4433667"/>
        <a:ext cx="1868552" cy="358191"/>
      </dsp:txXfrm>
    </dsp:sp>
    <dsp:sp modelId="{54F24787-7FF2-4801-9E98-FA730DAF1E8D}">
      <dsp:nvSpPr>
        <dsp:cNvPr id="0" name=""/>
        <dsp:cNvSpPr/>
      </dsp:nvSpPr>
      <dsp:spPr>
        <a:xfrm>
          <a:off x="440777" y="586027"/>
          <a:ext cx="236434" cy="4502334"/>
        </a:xfrm>
        <a:custGeom>
          <a:avLst/>
          <a:gdLst/>
          <a:ahLst/>
          <a:cxnLst/>
          <a:rect l="0" t="0" r="0" b="0"/>
          <a:pathLst>
            <a:path>
              <a:moveTo>
                <a:pt x="0" y="0"/>
              </a:moveTo>
              <a:lnTo>
                <a:pt x="0" y="4502334"/>
              </a:lnTo>
              <a:lnTo>
                <a:pt x="236434" y="450233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87636BC-225D-465F-8730-7F23FDC3F087}">
      <dsp:nvSpPr>
        <dsp:cNvPr id="0" name=""/>
        <dsp:cNvSpPr/>
      </dsp:nvSpPr>
      <dsp:spPr>
        <a:xfrm>
          <a:off x="677211" y="4898122"/>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1 Secure Disposal of Information Assets</a:t>
          </a:r>
          <a:endParaRPr lang="en-GB" sz="1100" kern="1200">
            <a:solidFill>
              <a:schemeClr val="tx1"/>
            </a:solidFill>
          </a:endParaRPr>
        </a:p>
      </dsp:txBody>
      <dsp:txXfrm>
        <a:off x="688355" y="4909266"/>
        <a:ext cx="1868552" cy="358191"/>
      </dsp:txXfrm>
    </dsp:sp>
    <dsp:sp modelId="{707A20C8-002D-430A-A705-8D9E0652EB20}">
      <dsp:nvSpPr>
        <dsp:cNvPr id="0" name=""/>
        <dsp:cNvSpPr/>
      </dsp:nvSpPr>
      <dsp:spPr>
        <a:xfrm>
          <a:off x="440777" y="586027"/>
          <a:ext cx="236434" cy="4977933"/>
        </a:xfrm>
        <a:custGeom>
          <a:avLst/>
          <a:gdLst/>
          <a:ahLst/>
          <a:cxnLst/>
          <a:rect l="0" t="0" r="0" b="0"/>
          <a:pathLst>
            <a:path>
              <a:moveTo>
                <a:pt x="0" y="0"/>
              </a:moveTo>
              <a:lnTo>
                <a:pt x="0" y="4977933"/>
              </a:lnTo>
              <a:lnTo>
                <a:pt x="236434" y="497793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92F7315-6766-4C20-925B-181D806E501E}">
      <dsp:nvSpPr>
        <dsp:cNvPr id="0" name=""/>
        <dsp:cNvSpPr/>
      </dsp:nvSpPr>
      <dsp:spPr>
        <a:xfrm>
          <a:off x="677211" y="5373721"/>
          <a:ext cx="1878403"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rgbClr val="000000"/>
              </a:solidFill>
              <a:latin typeface="Calibri"/>
            </a:rPr>
            <a:t>3.3.13 Electronic Banking Services</a:t>
          </a:r>
          <a:endParaRPr lang="en-GB" sz="1100" kern="1200">
            <a:solidFill>
              <a:schemeClr val="tx1"/>
            </a:solidFill>
          </a:endParaRPr>
        </a:p>
      </dsp:txBody>
      <dsp:txXfrm>
        <a:off x="688355" y="5384865"/>
        <a:ext cx="1856115" cy="358191"/>
      </dsp:txXfrm>
    </dsp:sp>
    <dsp:sp modelId="{45E8CDD4-6326-457A-968A-32C49FCC7893}">
      <dsp:nvSpPr>
        <dsp:cNvPr id="0" name=""/>
        <dsp:cNvSpPr/>
      </dsp:nvSpPr>
      <dsp:spPr>
        <a:xfrm>
          <a:off x="440777" y="586027"/>
          <a:ext cx="236434" cy="5453532"/>
        </a:xfrm>
        <a:custGeom>
          <a:avLst/>
          <a:gdLst/>
          <a:ahLst/>
          <a:cxnLst/>
          <a:rect l="0" t="0" r="0" b="0"/>
          <a:pathLst>
            <a:path>
              <a:moveTo>
                <a:pt x="0" y="0"/>
              </a:moveTo>
              <a:lnTo>
                <a:pt x="0" y="5453532"/>
              </a:lnTo>
              <a:lnTo>
                <a:pt x="236434" y="545353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FC1438C-711A-479D-AFBA-A3BB6B4240A3}">
      <dsp:nvSpPr>
        <dsp:cNvPr id="0" name=""/>
        <dsp:cNvSpPr/>
      </dsp:nvSpPr>
      <dsp:spPr>
        <a:xfrm>
          <a:off x="677211" y="5849319"/>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2 Payment Systems</a:t>
          </a:r>
          <a:endParaRPr lang="en-GB" sz="1100" kern="1200"/>
        </a:p>
      </dsp:txBody>
      <dsp:txXfrm>
        <a:off x="688355" y="5860463"/>
        <a:ext cx="1868552" cy="35819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ADAC4E4-57CE-4043-8C1D-36FDD5C6F4C1}">
      <dsp:nvSpPr>
        <dsp:cNvPr id="0" name=""/>
        <dsp:cNvSpPr/>
      </dsp:nvSpPr>
      <dsp:spPr>
        <a:xfrm>
          <a:off x="2716014" y="1461020"/>
          <a:ext cx="962964" cy="458283"/>
        </a:xfrm>
        <a:custGeom>
          <a:avLst/>
          <a:gdLst/>
          <a:ahLst/>
          <a:cxnLst/>
          <a:rect l="0" t="0" r="0" b="0"/>
          <a:pathLst>
            <a:path>
              <a:moveTo>
                <a:pt x="0" y="0"/>
              </a:moveTo>
              <a:lnTo>
                <a:pt x="0" y="312306"/>
              </a:lnTo>
              <a:lnTo>
                <a:pt x="962964" y="312306"/>
              </a:lnTo>
              <a:lnTo>
                <a:pt x="962964" y="458283"/>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EF3803E-3A11-4D34-B626-BD784F7BB599}">
      <dsp:nvSpPr>
        <dsp:cNvPr id="0" name=""/>
        <dsp:cNvSpPr/>
      </dsp:nvSpPr>
      <dsp:spPr>
        <a:xfrm>
          <a:off x="1753050" y="1461020"/>
          <a:ext cx="962964" cy="458283"/>
        </a:xfrm>
        <a:custGeom>
          <a:avLst/>
          <a:gdLst/>
          <a:ahLst/>
          <a:cxnLst/>
          <a:rect l="0" t="0" r="0" b="0"/>
          <a:pathLst>
            <a:path>
              <a:moveTo>
                <a:pt x="962964" y="0"/>
              </a:moveTo>
              <a:lnTo>
                <a:pt x="962964" y="312306"/>
              </a:lnTo>
              <a:lnTo>
                <a:pt x="0" y="312306"/>
              </a:lnTo>
              <a:lnTo>
                <a:pt x="0" y="458283"/>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73D88E8-F9F2-4631-BF58-82E083DC0BBB}">
      <dsp:nvSpPr>
        <dsp:cNvPr id="0" name=""/>
        <dsp:cNvSpPr/>
      </dsp:nvSpPr>
      <dsp:spPr>
        <a:xfrm>
          <a:off x="2206" y="303158"/>
          <a:ext cx="1575759" cy="1157862"/>
        </a:xfrm>
        <a:prstGeom prst="roundRect">
          <a:avLst>
            <a:gd name="adj" fmla="val 10000"/>
          </a:avLst>
        </a:prstGeom>
        <a:solidFill>
          <a:srgbClr val="6D73AB">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922BF0F-8813-48E2-A169-95C6A2AB7251}">
      <dsp:nvSpPr>
        <dsp:cNvPr id="0" name=""/>
        <dsp:cNvSpPr/>
      </dsp:nvSpPr>
      <dsp:spPr>
        <a:xfrm>
          <a:off x="177291" y="469488"/>
          <a:ext cx="1575759" cy="1157862"/>
        </a:xfrm>
        <a:prstGeom prst="roundRect">
          <a:avLst>
            <a:gd name="adj" fmla="val 10000"/>
          </a:avLst>
        </a:prstGeom>
        <a:solidFill>
          <a:srgbClr val="6D73AB"/>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i="0" kern="1200" baseline="0">
              <a:solidFill>
                <a:schemeClr val="bg1"/>
              </a:solidFill>
            </a:rPr>
            <a:t>Context Building</a:t>
          </a:r>
          <a:endParaRPr lang="en-GB" sz="1600" b="1" kern="1200">
            <a:solidFill>
              <a:schemeClr val="bg1"/>
            </a:solidFill>
          </a:endParaRPr>
        </a:p>
      </dsp:txBody>
      <dsp:txXfrm>
        <a:off x="211204" y="503401"/>
        <a:ext cx="1507933" cy="1090036"/>
      </dsp:txXfrm>
    </dsp:sp>
    <dsp:sp modelId="{DE77520E-5DFC-4640-9045-C007FDB344E0}">
      <dsp:nvSpPr>
        <dsp:cNvPr id="0" name=""/>
        <dsp:cNvSpPr/>
      </dsp:nvSpPr>
      <dsp:spPr>
        <a:xfrm>
          <a:off x="1928135" y="303158"/>
          <a:ext cx="1575759" cy="1157862"/>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46FB816-E00C-401C-A301-5E3853D2AB57}">
      <dsp:nvSpPr>
        <dsp:cNvPr id="0" name=""/>
        <dsp:cNvSpPr/>
      </dsp:nvSpPr>
      <dsp:spPr>
        <a:xfrm>
          <a:off x="2103219" y="469488"/>
          <a:ext cx="1575759" cy="1157862"/>
        </a:xfrm>
        <a:prstGeom prst="roundRect">
          <a:avLst>
            <a:gd name="adj" fmla="val 10000"/>
          </a:avLst>
        </a:prstGeom>
        <a:solidFill>
          <a:srgbClr val="637052"/>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bg1"/>
              </a:solidFill>
              <a:latin typeface="Calibri"/>
            </a:rPr>
            <a:t>Audit</a:t>
          </a:r>
          <a:endParaRPr lang="en-GB" sz="1600" b="1" kern="1200">
            <a:solidFill>
              <a:schemeClr val="bg1"/>
            </a:solidFill>
          </a:endParaRPr>
        </a:p>
      </dsp:txBody>
      <dsp:txXfrm>
        <a:off x="2137132" y="503401"/>
        <a:ext cx="1507933" cy="1090036"/>
      </dsp:txXfrm>
    </dsp:sp>
    <dsp:sp modelId="{EE258F26-7CE0-43CD-B285-9A926D8CE92E}">
      <dsp:nvSpPr>
        <dsp:cNvPr id="0" name=""/>
        <dsp:cNvSpPr/>
      </dsp:nvSpPr>
      <dsp:spPr>
        <a:xfrm>
          <a:off x="965171" y="1919304"/>
          <a:ext cx="1575759" cy="1000607"/>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1BE08C8-B4BB-4F59-9A74-5718CD07DC16}">
      <dsp:nvSpPr>
        <dsp:cNvPr id="0" name=""/>
        <dsp:cNvSpPr/>
      </dsp:nvSpPr>
      <dsp:spPr>
        <a:xfrm>
          <a:off x="1140255" y="2085634"/>
          <a:ext cx="1575759" cy="1000607"/>
        </a:xfrm>
        <a:prstGeom prst="roundRect">
          <a:avLst>
            <a:gd name="adj" fmla="val 10000"/>
          </a:avLst>
        </a:prstGeom>
        <a:solidFill>
          <a:srgbClr val="637052"/>
        </a:solidFill>
        <a:ln w="12700" cap="flat" cmpd="sng" algn="ctr">
          <a:solidFill>
            <a:srgbClr val="637052">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b="1" i="0" kern="1200" baseline="0">
              <a:solidFill>
                <a:prstClr val="white"/>
              </a:solidFill>
              <a:latin typeface="Calibri"/>
              <a:ea typeface="+mn-ea"/>
              <a:cs typeface="+mn-cs"/>
            </a:rPr>
            <a:t>Sharing of Evidences</a:t>
          </a:r>
        </a:p>
      </dsp:txBody>
      <dsp:txXfrm>
        <a:off x="1169562" y="2114941"/>
        <a:ext cx="1517145" cy="941993"/>
      </dsp:txXfrm>
    </dsp:sp>
    <dsp:sp modelId="{B611966E-16E6-44C5-9BA3-FFC513260E3D}">
      <dsp:nvSpPr>
        <dsp:cNvPr id="0" name=""/>
        <dsp:cNvSpPr/>
      </dsp:nvSpPr>
      <dsp:spPr>
        <a:xfrm>
          <a:off x="2891099" y="1919304"/>
          <a:ext cx="1575759" cy="1000607"/>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4F85545-05AE-47E6-A3AF-6C46132F6EC2}">
      <dsp:nvSpPr>
        <dsp:cNvPr id="0" name=""/>
        <dsp:cNvSpPr/>
      </dsp:nvSpPr>
      <dsp:spPr>
        <a:xfrm>
          <a:off x="3066183" y="2085634"/>
          <a:ext cx="1575759" cy="1000607"/>
        </a:xfrm>
        <a:prstGeom prst="roundRect">
          <a:avLst>
            <a:gd name="adj" fmla="val 10000"/>
          </a:avLst>
        </a:prstGeom>
        <a:solidFill>
          <a:srgbClr val="637052"/>
        </a:solidFill>
        <a:ln w="12700" cap="flat" cmpd="sng" algn="ctr">
          <a:solidFill>
            <a:srgbClr val="637052">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i="0" kern="1200" baseline="0">
              <a:solidFill>
                <a:prstClr val="white"/>
              </a:solidFill>
              <a:latin typeface="Calibri"/>
              <a:ea typeface="+mn-ea"/>
              <a:cs typeface="+mn-cs"/>
            </a:rPr>
            <a:t>Review Evidences</a:t>
          </a:r>
          <a:endParaRPr lang="en-GB" sz="1400" b="1" i="0" kern="1200" baseline="0">
            <a:solidFill>
              <a:prstClr val="white"/>
            </a:solidFill>
            <a:latin typeface="Calibri"/>
            <a:ea typeface="+mn-ea"/>
            <a:cs typeface="+mn-cs"/>
          </a:endParaRPr>
        </a:p>
      </dsp:txBody>
      <dsp:txXfrm>
        <a:off x="3095490" y="2114941"/>
        <a:ext cx="1517145" cy="941993"/>
      </dsp:txXfrm>
    </dsp:sp>
    <dsp:sp modelId="{E5365898-102C-4612-B61F-4924A355F257}">
      <dsp:nvSpPr>
        <dsp:cNvPr id="0" name=""/>
        <dsp:cNvSpPr/>
      </dsp:nvSpPr>
      <dsp:spPr>
        <a:xfrm>
          <a:off x="3854063" y="303158"/>
          <a:ext cx="1575759" cy="1157862"/>
        </a:xfrm>
        <a:prstGeom prst="roundRect">
          <a:avLst>
            <a:gd name="adj" fmla="val 10000"/>
          </a:avLst>
        </a:prstGeom>
        <a:solidFill>
          <a:srgbClr val="906666">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C9CEF50-3B8E-4C83-A702-E4A60DAC053A}">
      <dsp:nvSpPr>
        <dsp:cNvPr id="0" name=""/>
        <dsp:cNvSpPr/>
      </dsp:nvSpPr>
      <dsp:spPr>
        <a:xfrm>
          <a:off x="4029147" y="469488"/>
          <a:ext cx="1575759" cy="1157862"/>
        </a:xfrm>
        <a:prstGeom prst="roundRect">
          <a:avLst>
            <a:gd name="adj" fmla="val 10000"/>
          </a:avLst>
        </a:prstGeom>
        <a:solidFill>
          <a:srgbClr val="906666"/>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252000" rIns="60960" bIns="60960" numCol="1" spcCol="1270" anchor="t" anchorCtr="0">
          <a:noAutofit/>
        </a:bodyPr>
        <a:lstStyle/>
        <a:p>
          <a:pPr marL="0" lvl="0" indent="0" algn="ctr" defTabSz="711200">
            <a:lnSpc>
              <a:spcPct val="90000"/>
            </a:lnSpc>
            <a:spcBef>
              <a:spcPct val="0"/>
            </a:spcBef>
            <a:spcAft>
              <a:spcPct val="35000"/>
            </a:spcAft>
            <a:buNone/>
          </a:pPr>
          <a:r>
            <a:rPr lang="en-US" sz="1600" b="1" i="0" kern="1200" baseline="0">
              <a:solidFill>
                <a:schemeClr val="bg1"/>
              </a:solidFill>
            </a:rPr>
            <a:t>Interim Audit Report</a:t>
          </a:r>
          <a:endParaRPr lang="en-GB" sz="1600" b="1" kern="1200">
            <a:solidFill>
              <a:schemeClr val="bg1"/>
            </a:solidFill>
          </a:endParaRPr>
        </a:p>
      </dsp:txBody>
      <dsp:txXfrm>
        <a:off x="4063060" y="503401"/>
        <a:ext cx="1507933" cy="1090036"/>
      </dsp:txXfrm>
    </dsp:sp>
    <dsp:sp modelId="{3573B1B5-90B0-4F64-82C6-CE18934AA337}">
      <dsp:nvSpPr>
        <dsp:cNvPr id="0" name=""/>
        <dsp:cNvSpPr/>
      </dsp:nvSpPr>
      <dsp:spPr>
        <a:xfrm>
          <a:off x="5779991" y="303158"/>
          <a:ext cx="1575759" cy="1157862"/>
        </a:xfrm>
        <a:prstGeom prst="roundRect">
          <a:avLst>
            <a:gd name="adj" fmla="val 10000"/>
          </a:avLst>
        </a:prstGeom>
        <a:solidFill>
          <a:srgbClr val="9B8357">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C81BC27-1F1A-4193-A882-328863CB118E}">
      <dsp:nvSpPr>
        <dsp:cNvPr id="0" name=""/>
        <dsp:cNvSpPr/>
      </dsp:nvSpPr>
      <dsp:spPr>
        <a:xfrm>
          <a:off x="5955075" y="469488"/>
          <a:ext cx="1575759" cy="1157862"/>
        </a:xfrm>
        <a:prstGeom prst="roundRect">
          <a:avLst>
            <a:gd name="adj" fmla="val 10000"/>
          </a:avLst>
        </a:prstGeom>
        <a:solidFill>
          <a:srgbClr val="9B8357"/>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bg1"/>
              </a:solidFill>
            </a:rPr>
            <a:t>Final Audit Report</a:t>
          </a:r>
          <a:endParaRPr lang="en-GB" sz="1600" b="1" kern="1200">
            <a:solidFill>
              <a:schemeClr val="bg1"/>
            </a:solidFill>
          </a:endParaRPr>
        </a:p>
      </dsp:txBody>
      <dsp:txXfrm>
        <a:off x="5988988" y="503401"/>
        <a:ext cx="1507933" cy="1090036"/>
      </dsp:txXfrm>
    </dsp:sp>
  </dsp:spTree>
</dsp:drawing>
</file>

<file path=ppt/diagrams/layout1.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FD19B64-1A47-34DA-8C09-FBC6661221E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118AF240-B466-E50A-59BA-1D9EE9BBCF9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42441CB-1318-40A1-BF80-AB245FFD0866}" type="datetimeFigureOut">
              <a:rPr lang="en-GB" smtClean="0"/>
              <a:t>16/02/2025</a:t>
            </a:fld>
            <a:endParaRPr lang="en-GB"/>
          </a:p>
        </p:txBody>
      </p:sp>
      <p:sp>
        <p:nvSpPr>
          <p:cNvPr id="4" name="Footer Placeholder 3">
            <a:extLst>
              <a:ext uri="{FF2B5EF4-FFF2-40B4-BE49-F238E27FC236}">
                <a16:creationId xmlns:a16="http://schemas.microsoft.com/office/drawing/2014/main" id="{FFC81D8B-0B90-1094-EFD5-5B085FBEFDA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23A0F238-FFEE-B11D-DFDE-DA0824ACF9B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4615221-D360-4BED-960A-59CBEEE407BB}" type="slidenum">
              <a:rPr lang="en-GB" smtClean="0"/>
              <a:t>‹#›</a:t>
            </a:fld>
            <a:endParaRPr lang="en-GB"/>
          </a:p>
        </p:txBody>
      </p:sp>
    </p:spTree>
    <p:extLst>
      <p:ext uri="{BB962C8B-B14F-4D97-AF65-F5344CB8AC3E}">
        <p14:creationId xmlns:p14="http://schemas.microsoft.com/office/powerpoint/2010/main" val="247176568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19C42-F70F-4374-A901-78F6E854AA03}" type="datetimeFigureOut">
              <a:rPr lang="en-GB" smtClean="0"/>
              <a:t>16/02/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05E22E0-AAC5-46B6-AED4-8B5F73DD5CB2}" type="slidenum">
              <a:rPr lang="en-GB" smtClean="0"/>
              <a:t>‹#›</a:t>
            </a:fld>
            <a:endParaRPr lang="en-GB"/>
          </a:p>
        </p:txBody>
      </p:sp>
    </p:spTree>
    <p:extLst>
      <p:ext uri="{BB962C8B-B14F-4D97-AF65-F5344CB8AC3E}">
        <p14:creationId xmlns:p14="http://schemas.microsoft.com/office/powerpoint/2010/main" val="50954974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50A6D70F-1DDC-E36E-F55D-E5F2B405C81B}"/>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12106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39E48E1-9C08-D861-770D-55DFA89B8215}"/>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68949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B476241-BB56-2012-AB22-890529D6CD2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69562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17331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endParaRPr lang="en-GB"/>
          </a:p>
        </p:txBody>
      </p:sp>
      <p:sp>
        <p:nvSpPr>
          <p:cNvPr id="5" name="Slide Number Placeholder 4"/>
          <p:cNvSpPr>
            <a:spLocks noGrp="1"/>
          </p:cNvSpPr>
          <p:nvPr>
            <p:ph type="sldNum" sz="quarter" idx="5"/>
          </p:nvPr>
        </p:nvSpPr>
        <p:spPr/>
        <p:txBody>
          <a:bodyPr/>
          <a:lstStyle/>
          <a:p>
            <a:fld id="{805E22E0-AAC5-46B6-AED4-8B5F73DD5CB2}" type="slidenum">
              <a:rPr lang="en-GB" smtClean="0"/>
              <a:t>43</a:t>
            </a:fld>
            <a:endParaRPr lang="en-GB"/>
          </a:p>
        </p:txBody>
      </p:sp>
    </p:spTree>
    <p:extLst>
      <p:ext uri="{BB962C8B-B14F-4D97-AF65-F5344CB8AC3E}">
        <p14:creationId xmlns:p14="http://schemas.microsoft.com/office/powerpoint/2010/main" val="35644483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88364F-D158-4F76-8FA9-2D20258FBB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B7FE467-0755-6439-DD22-E2A9E98A47D2}"/>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44320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66944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66844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1557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C9EC6F46-A32E-1A17-9209-88ABF9A5C183}"/>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8115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20023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974C750D-B1BC-8BB3-E63B-098662BC9D76}"/>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12086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3B9D95D-9AAD-7F89-38CD-996BF5142E97}"/>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307012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 Id="rId3" Type="http://schemas.openxmlformats.org/officeDocument/2006/relationships/image" Target="../media/image2.jpe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426781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76346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485052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1968359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88104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556432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2615135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800726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3640601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783573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262805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623940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9007075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131829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87620949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0420386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4168738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248251" y="-8885"/>
            <a:ext cx="5847380" cy="2676935"/>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367833" y="3242124"/>
            <a:ext cx="4824612" cy="3036712"/>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 name="connsiteX0" fmla="*/ 3188114 w 5631231"/>
              <a:gd name="connsiteY0" fmla="*/ 0 h 3386033"/>
              <a:gd name="connsiteX1" fmla="*/ 3253209 w 5631231"/>
              <a:gd name="connsiteY1" fmla="*/ 0 h 3386033"/>
              <a:gd name="connsiteX2" fmla="*/ 3387610 w 5631231"/>
              <a:gd name="connsiteY2" fmla="*/ 3399 h 3386033"/>
              <a:gd name="connsiteX3" fmla="*/ 5034541 w 5631231"/>
              <a:gd name="connsiteY3" fmla="*/ 553240 h 3386033"/>
              <a:gd name="connsiteX4" fmla="*/ 5631231 w 5631231"/>
              <a:gd name="connsiteY4" fmla="*/ 888127 h 3386033"/>
              <a:gd name="connsiteX5" fmla="*/ 5197475 w 5631231"/>
              <a:gd name="connsiteY5" fmla="*/ 3386033 h 3386033"/>
              <a:gd name="connsiteX6" fmla="*/ 0 w 5631231"/>
              <a:gd name="connsiteY6" fmla="*/ 3386033 h 3386033"/>
              <a:gd name="connsiteX7" fmla="*/ 0 w 5631231"/>
              <a:gd name="connsiteY7" fmla="*/ 2865593 h 3386033"/>
              <a:gd name="connsiteX8" fmla="*/ 36404 w 5631231"/>
              <a:gd name="connsiteY8" fmla="*/ 2619328 h 3386033"/>
              <a:gd name="connsiteX9" fmla="*/ 3053714 w 5631231"/>
              <a:gd name="connsiteY9" fmla="*/ 3399 h 3386033"/>
              <a:gd name="connsiteX10" fmla="*/ 3188114 w 5631231"/>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197475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781603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034541 w 5476319"/>
              <a:gd name="connsiteY3" fmla="*/ 553240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76319" h="3386033">
                <a:moveTo>
                  <a:pt x="3188114" y="0"/>
                </a:moveTo>
                <a:lnTo>
                  <a:pt x="3253209" y="0"/>
                </a:lnTo>
                <a:lnTo>
                  <a:pt x="3387610" y="3399"/>
                </a:lnTo>
                <a:cubicBezTo>
                  <a:pt x="3995857" y="34231"/>
                  <a:pt x="5179559" y="460849"/>
                  <a:pt x="5468297" y="796723"/>
                </a:cubicBezTo>
                <a:lnTo>
                  <a:pt x="5476319" y="3386033"/>
                </a:lnTo>
                <a:lnTo>
                  <a:pt x="0" y="3386033"/>
                </a:lnTo>
                <a:lnTo>
                  <a:pt x="0" y="2865593"/>
                </a:lnTo>
                <a:lnTo>
                  <a:pt x="36404" y="2619328"/>
                </a:lnTo>
                <a:cubicBezTo>
                  <a:pt x="317029" y="1179156"/>
                  <a:pt x="1550375" y="79603"/>
                  <a:pt x="3053714" y="3399"/>
                </a:cubicBezTo>
                <a:lnTo>
                  <a:pt x="3188114" y="0"/>
                </a:ln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7435650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26460404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374889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3_img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pic>
        <p:nvPicPr>
          <p:cNvPr id="6" name="Picture 5" descr="A hand holding a book&#10;&#10;Description automatically generated">
            <a:extLst>
              <a:ext uri="{FF2B5EF4-FFF2-40B4-BE49-F238E27FC236}">
                <a16:creationId xmlns:a16="http://schemas.microsoft.com/office/drawing/2014/main" id="{371CF005-8813-B92B-378D-E782DFAE70C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514" y="0"/>
            <a:ext cx="12206514" cy="1467854"/>
          </a:xfrm>
          <a:prstGeom prst="rect">
            <a:avLst/>
          </a:prstGeom>
        </p:spPr>
      </p:pic>
      <p:sp>
        <p:nvSpPr>
          <p:cNvPr id="8" name="Title 1">
            <a:extLst>
              <a:ext uri="{FF2B5EF4-FFF2-40B4-BE49-F238E27FC236}">
                <a16:creationId xmlns:a16="http://schemas.microsoft.com/office/drawing/2014/main" id="{D7B0ACD9-57A2-CB4C-04E7-D9C7B413F64E}"/>
              </a:ext>
            </a:extLst>
          </p:cNvPr>
          <p:cNvSpPr txBox="1">
            <a:spLocks/>
          </p:cNvSpPr>
          <p:nvPr userDrawn="1"/>
        </p:nvSpPr>
        <p:spPr>
          <a:xfrm>
            <a:off x="0" y="-17243"/>
            <a:ext cx="12194652" cy="1485097"/>
          </a:xfrm>
          <a:prstGeom prst="rect">
            <a:avLst/>
          </a:prstGeom>
          <a:solidFill>
            <a:schemeClr val="tx1">
              <a:alpha val="80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indent="738188"/>
            <a:endParaRPr lang="en-GB" sz="4000" b="1">
              <a:solidFill>
                <a:schemeClr val="bg1"/>
              </a:solidFill>
              <a:latin typeface="Calibri" panose="020F0502020204030204" pitchFamily="34" charset="0"/>
              <a:cs typeface="Calibri" panose="020F0502020204030204" pitchFamily="34" charset="0"/>
            </a:endParaRPr>
          </a:p>
        </p:txBody>
      </p:sp>
      <p:sp>
        <p:nvSpPr>
          <p:cNvPr id="9" name="Text Placeholder 13">
            <a:extLst>
              <a:ext uri="{FF2B5EF4-FFF2-40B4-BE49-F238E27FC236}">
                <a16:creationId xmlns:a16="http://schemas.microsoft.com/office/drawing/2014/main" id="{EE55BBED-91F8-279D-9645-55E0069F555A}"/>
              </a:ext>
            </a:extLst>
          </p:cNvPr>
          <p:cNvSpPr>
            <a:spLocks noGrp="1"/>
          </p:cNvSpPr>
          <p:nvPr>
            <p:ph type="body" sz="quarter" idx="14"/>
          </p:nvPr>
        </p:nvSpPr>
        <p:spPr>
          <a:xfrm>
            <a:off x="-14514" y="23698"/>
            <a:ext cx="12192000" cy="1419727"/>
          </a:xfrm>
        </p:spPr>
        <p:txBody>
          <a:bodyPr anchor="ctr">
            <a:normAutofit/>
          </a:bodyPr>
          <a:lstStyle>
            <a:lvl1pPr marL="0" indent="914400">
              <a:buNone/>
              <a:defRPr sz="4000" b="1">
                <a:solidFill>
                  <a:schemeClr val="bg1"/>
                </a:solidFill>
              </a:defRPr>
            </a:lvl1pPr>
          </a:lstStyle>
          <a:p>
            <a:pPr lvl="0"/>
            <a:endParaRPr lang="en-GB"/>
          </a:p>
        </p:txBody>
      </p:sp>
    </p:spTree>
    <p:extLst>
      <p:ext uri="{BB962C8B-B14F-4D97-AF65-F5344CB8AC3E}">
        <p14:creationId xmlns:p14="http://schemas.microsoft.com/office/powerpoint/2010/main" val="298962580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672797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2677192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0295931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4101474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5522373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22746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96300357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559881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1481555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055829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58136981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9507133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6355791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105105976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084573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extComparison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310650" y="1994854"/>
            <a:ext cx="5293216" cy="423894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303919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22142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22142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12879" y="1"/>
            <a:ext cx="12204879" cy="1507228"/>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6748526" cy="5350031"/>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43545"/>
              <a:gd name="connsiteX1" fmla="*/ 8896440 w 8896440"/>
              <a:gd name="connsiteY1" fmla="*/ 0 h 3943545"/>
              <a:gd name="connsiteX2" fmla="*/ 7249276 w 8896440"/>
              <a:gd name="connsiteY2" fmla="*/ 3943545 h 3943545"/>
              <a:gd name="connsiteX3" fmla="*/ 0 w 8896440"/>
              <a:gd name="connsiteY3" fmla="*/ 3924560 h 3943545"/>
              <a:gd name="connsiteX4" fmla="*/ 12879 w 8896440"/>
              <a:gd name="connsiteY4" fmla="*/ 0 h 3943545"/>
              <a:gd name="connsiteX0" fmla="*/ 12879 w 8982147"/>
              <a:gd name="connsiteY0" fmla="*/ 0 h 3943545"/>
              <a:gd name="connsiteX1" fmla="*/ 8982147 w 8982147"/>
              <a:gd name="connsiteY1" fmla="*/ 0 h 3943545"/>
              <a:gd name="connsiteX2" fmla="*/ 7249276 w 8982147"/>
              <a:gd name="connsiteY2" fmla="*/ 3943545 h 3943545"/>
              <a:gd name="connsiteX3" fmla="*/ 0 w 8982147"/>
              <a:gd name="connsiteY3" fmla="*/ 3924560 h 3943545"/>
              <a:gd name="connsiteX4" fmla="*/ 12879 w 8982147"/>
              <a:gd name="connsiteY4" fmla="*/ 0 h 3943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82147" h="3943545">
                <a:moveTo>
                  <a:pt x="12879" y="0"/>
                </a:moveTo>
                <a:lnTo>
                  <a:pt x="8982147" y="0"/>
                </a:lnTo>
                <a:lnTo>
                  <a:pt x="7249276" y="3943545"/>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7598534" y="2215896"/>
            <a:ext cx="3528811"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
        <p:nvSpPr>
          <p:cNvPr id="6" name="Freeform: Shape 5">
            <a:extLst>
              <a:ext uri="{FF2B5EF4-FFF2-40B4-BE49-F238E27FC236}">
                <a16:creationId xmlns:a16="http://schemas.microsoft.com/office/drawing/2014/main" id="{BD487921-C218-CEF8-C9C9-770D18917AA5}"/>
              </a:ext>
            </a:extLst>
          </p:cNvPr>
          <p:cNvSpPr/>
          <p:nvPr userDrawn="1"/>
        </p:nvSpPr>
        <p:spPr>
          <a:xfrm>
            <a:off x="540136" y="1941860"/>
            <a:ext cx="5341215" cy="3956664"/>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Text Placeholder 28">
            <a:extLst>
              <a:ext uri="{FF2B5EF4-FFF2-40B4-BE49-F238E27FC236}">
                <a16:creationId xmlns:a16="http://schemas.microsoft.com/office/drawing/2014/main" id="{0421FB45-0AE5-59E5-BB48-796DFBCC3DFC}"/>
              </a:ext>
            </a:extLst>
          </p:cNvPr>
          <p:cNvSpPr>
            <a:spLocks noGrp="1"/>
          </p:cNvSpPr>
          <p:nvPr>
            <p:ph type="body" sz="quarter" idx="18"/>
          </p:nvPr>
        </p:nvSpPr>
        <p:spPr>
          <a:xfrm>
            <a:off x="841420" y="2215896"/>
            <a:ext cx="3820731" cy="3375848"/>
          </a:xfrm>
        </p:spPr>
        <p:txBody>
          <a:bodyPr>
            <a:normAutofit/>
          </a:bodyPr>
          <a:lstStyle>
            <a:lvl1pPr marL="0" indent="0">
              <a:buNone/>
              <a:defRPr sz="1800">
                <a:solidFill>
                  <a:schemeClr val="tx1"/>
                </a:solidFill>
              </a:defRPr>
            </a:lvl1pPr>
          </a:lstStyle>
          <a:p>
            <a:pPr lvl="0"/>
            <a:endParaRPr lang="en-GB"/>
          </a:p>
        </p:txBody>
      </p:sp>
    </p:spTree>
    <p:extLst>
      <p:ext uri="{BB962C8B-B14F-4D97-AF65-F5344CB8AC3E}">
        <p14:creationId xmlns:p14="http://schemas.microsoft.com/office/powerpoint/2010/main" val="17259840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238597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1888491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6080113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32801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762621"/>
      </p:ext>
    </p:extLst>
  </p:cSld>
  <p:clrMapOvr>
    <a:masterClrMapping/>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theme" Target="../theme/theme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 Type="http://schemas.openxmlformats.org/officeDocument/2006/relationships/slideLayout" Target="../slideLayouts/slideLayout15.xml"/><Relationship Id="rId10" Type="http://schemas.openxmlformats.org/officeDocument/2006/relationships/slideLayout" Target="../slideLayouts/slideLayout24.xml"/><Relationship Id="rId11" Type="http://schemas.openxmlformats.org/officeDocument/2006/relationships/slideLayout" Target="../slideLayouts/slideLayout25.xml"/><Relationship Id="rId12" Type="http://schemas.openxmlformats.org/officeDocument/2006/relationships/slideLayout" Target="../slideLayouts/slideLayout26.xml"/><Relationship Id="rId13" Type="http://schemas.openxmlformats.org/officeDocument/2006/relationships/slideLayout" Target="../slideLayouts/slideLayout27.xml"/><Relationship Id="rId14" Type="http://schemas.openxmlformats.org/officeDocument/2006/relationships/slideLayout" Target="../slideLayouts/slideLayout28.xml"/><Relationship Id="rId15" Type="http://schemas.openxmlformats.org/officeDocument/2006/relationships/theme" Target="../theme/theme2.xml"/><Relationship Id="rId2" Type="http://schemas.openxmlformats.org/officeDocument/2006/relationships/slideLayout" Target="../slideLayouts/slideLayout16.xml"/><Relationship Id="rId3" Type="http://schemas.openxmlformats.org/officeDocument/2006/relationships/slideLayout" Target="../slideLayouts/slideLayout17.xml"/><Relationship Id="rId4" Type="http://schemas.openxmlformats.org/officeDocument/2006/relationships/slideLayout" Target="../slideLayouts/slideLayout18.xml"/><Relationship Id="rId5" Type="http://schemas.openxmlformats.org/officeDocument/2006/relationships/slideLayout" Target="../slideLayouts/slideLayout19.xml"/><Relationship Id="rId6" Type="http://schemas.openxmlformats.org/officeDocument/2006/relationships/slideLayout" Target="../slideLayouts/slideLayout20.xml"/><Relationship Id="rId7" Type="http://schemas.openxmlformats.org/officeDocument/2006/relationships/slideLayout" Target="../slideLayouts/slideLayout21.xml"/><Relationship Id="rId8" Type="http://schemas.openxmlformats.org/officeDocument/2006/relationships/slideLayout" Target="../slideLayouts/slideLayout22.xml"/><Relationship Id="rId9"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slideLayout" Target="../slideLayouts/slideLayout38.xml"/><Relationship Id="rId11" Type="http://schemas.openxmlformats.org/officeDocument/2006/relationships/slideLayout" Target="../slideLayouts/slideLayout39.xml"/><Relationship Id="rId12" Type="http://schemas.openxmlformats.org/officeDocument/2006/relationships/slideLayout" Target="../slideLayouts/slideLayout40.xml"/><Relationship Id="rId13" Type="http://schemas.openxmlformats.org/officeDocument/2006/relationships/slideLayout" Target="../slideLayouts/slideLayout41.xml"/><Relationship Id="rId14" Type="http://schemas.openxmlformats.org/officeDocument/2006/relationships/slideLayout" Target="../slideLayouts/slideLayout42.xml"/><Relationship Id="rId15" Type="http://schemas.openxmlformats.org/officeDocument/2006/relationships/theme" Target="../theme/theme3.xml"/><Relationship Id="rId2" Type="http://schemas.openxmlformats.org/officeDocument/2006/relationships/slideLayout" Target="../slideLayouts/slideLayout30.xml"/><Relationship Id="rId3" Type="http://schemas.openxmlformats.org/officeDocument/2006/relationships/slideLayout" Target="../slideLayouts/slideLayout31.xml"/><Relationship Id="rId4" Type="http://schemas.openxmlformats.org/officeDocument/2006/relationships/slideLayout" Target="../slideLayouts/slideLayout32.xml"/><Relationship Id="rId5" Type="http://schemas.openxmlformats.org/officeDocument/2006/relationships/slideLayout" Target="../slideLayouts/slideLayout33.xml"/><Relationship Id="rId6" Type="http://schemas.openxmlformats.org/officeDocument/2006/relationships/slideLayout" Target="../slideLayouts/slideLayout34.xml"/><Relationship Id="rId7" Type="http://schemas.openxmlformats.org/officeDocument/2006/relationships/slideLayout" Target="../slideLayouts/slideLayout35.xml"/><Relationship Id="rId8" Type="http://schemas.openxmlformats.org/officeDocument/2006/relationships/slideLayout" Target="../slideLayouts/slideLayout36.xml"/><Relationship Id="rId9"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3934031200"/>
      </p:ext>
    </p:extLst>
  </p:cSld>
  <p:clrMap bg1="lt1" tx1="dk1" bg2="lt2" tx2="dk2" accent1="accent1" accent2="accent2" accent3="accent3" accent4="accent4" accent5="accent5" accent6="accent6" hlink="hlink" folHlink="folHlink"/>
  <p:sldLayoutIdLst>
    <p:sldLayoutId id="2147483658" r:id="rId1"/>
    <p:sldLayoutId id="2147483665" r:id="rId2"/>
    <p:sldLayoutId id="2147483657" r:id="rId3"/>
    <p:sldLayoutId id="2147483663" r:id="rId4"/>
    <p:sldLayoutId id="2147483662" r:id="rId5"/>
    <p:sldLayoutId id="2147483667" r:id="rId6"/>
    <p:sldLayoutId id="2147483661" r:id="rId7"/>
    <p:sldLayoutId id="2147483664" r:id="rId8"/>
    <p:sldLayoutId id="2147483668" r:id="rId9"/>
    <p:sldLayoutId id="2147483656" r:id="rId10"/>
    <p:sldLayoutId id="2147483666" r:id="rId11"/>
    <p:sldLayoutId id="2147483659" r:id="rId12"/>
    <p:sldLayoutId id="2147483655" r:id="rId13"/>
    <p:sldLayoutId id="2147483715"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2340664804"/>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 id="2147483681" r:id="rId12"/>
    <p:sldLayoutId id="2147483682" r:id="rId13"/>
    <p:sldLayoutId id="2147483717"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482587028"/>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716"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microsoft.com/office/2018/10/relationships/comments" Target="../comments/modernComment_E28_ECCCEF96.xml"/><Relationship Id="rId3" Type="http://schemas.openxmlformats.org/officeDocument/2006/relationships/image" Target="../media/image3.jpe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4.xml"/><Relationship Id="rId3" Type="http://schemas.openxmlformats.org/officeDocument/2006/relationships/image" Target="../media/image12.jpe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19.jpeg"/><Relationship Id="rId11" Type="http://schemas.openxmlformats.org/officeDocument/2006/relationships/image" Target="../media/image20.png"/><Relationship Id="rId12" Type="http://schemas.openxmlformats.org/officeDocument/2006/relationships/image" Target="../media/image21.png"/><Relationship Id="rId13" Type="http://schemas.openxmlformats.org/officeDocument/2006/relationships/image" Target="../media/image22.png"/><Relationship Id="rId14" Type="http://schemas.openxmlformats.org/officeDocument/2006/relationships/image" Target="../media/image23.png"/><Relationship Id="rId15" Type="http://schemas.microsoft.com/office/2007/relationships/hdphoto" Target="../media/hdphoto5.wdp"/><Relationship Id="rId16" Type="http://schemas.openxmlformats.org/officeDocument/2006/relationships/image" Target="../media/image24.png"/><Relationship Id="rId17" Type="http://schemas.openxmlformats.org/officeDocument/2006/relationships/image" Target="../media/image25.png"/><Relationship Id="rId2" Type="http://schemas.openxmlformats.org/officeDocument/2006/relationships/image" Target="../media/image13.png"/><Relationship Id="rId3" Type="http://schemas.microsoft.com/office/2007/relationships/hdphoto" Target="../media/hdphoto3.wdp"/><Relationship Id="rId4" Type="http://schemas.openxmlformats.org/officeDocument/2006/relationships/image" Target="../media/image14.png"/><Relationship Id="rId5" Type="http://schemas.microsoft.com/office/2007/relationships/hdphoto" Target="../media/hdphoto4.wdp"/><Relationship Id="rId6" Type="http://schemas.openxmlformats.org/officeDocument/2006/relationships/image" Target="../media/image15.png"/><Relationship Id="rId7" Type="http://schemas.openxmlformats.org/officeDocument/2006/relationships/image" Target="../media/image16.png"/><Relationship Id="rId8" Type="http://schemas.openxmlformats.org/officeDocument/2006/relationships/image" Target="../media/image17.png"/><Relationship Id="rId9" Type="http://schemas.openxmlformats.org/officeDocument/2006/relationships/image" Target="../media/image18.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5.xml"/><Relationship Id="rId3" Type="http://schemas.openxmlformats.org/officeDocument/2006/relationships/image" Target="../media/image26.jpe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6.xml"/><Relationship Id="rId3" Type="http://schemas.openxmlformats.org/officeDocument/2006/relationships/image" Target="../media/image27.png"/><Relationship Id="rId4" Type="http://schemas.microsoft.com/office/2007/relationships/hdphoto" Target="../media/hdphoto6.wdp"/><Relationship Id="rId5" Type="http://schemas.openxmlformats.org/officeDocument/2006/relationships/image" Target="../media/image1.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microsoft.com/office/2007/relationships/hdphoto" Target="../media/hdphoto8.wdp"/><Relationship Id="rId11" Type="http://schemas.openxmlformats.org/officeDocument/2006/relationships/image" Target="../media/image35.png"/><Relationship Id="rId12" Type="http://schemas.openxmlformats.org/officeDocument/2006/relationships/image" Target="../media/image36.png"/><Relationship Id="rId13" Type="http://schemas.microsoft.com/office/2007/relationships/hdphoto" Target="../media/hdphoto9.wdp"/><Relationship Id="rId14" Type="http://schemas.openxmlformats.org/officeDocument/2006/relationships/image" Target="../media/image37.png"/><Relationship Id="rId15" Type="http://schemas.openxmlformats.org/officeDocument/2006/relationships/image" Target="../media/image38.png"/><Relationship Id="rId16" Type="http://schemas.openxmlformats.org/officeDocument/2006/relationships/image" Target="../media/image39.png"/><Relationship Id="rId17" Type="http://schemas.microsoft.com/office/2007/relationships/hdphoto" Target="../media/hdphoto10.wdp"/><Relationship Id="rId18" Type="http://schemas.openxmlformats.org/officeDocument/2006/relationships/image" Target="../media/image40.png"/><Relationship Id="rId19" Type="http://schemas.openxmlformats.org/officeDocument/2006/relationships/image" Target="../media/image41.png"/><Relationship Id="rId2" Type="http://schemas.openxmlformats.org/officeDocument/2006/relationships/image" Target="../media/image28.png"/><Relationship Id="rId20" Type="http://schemas.openxmlformats.org/officeDocument/2006/relationships/image" Target="../media/image42.png"/><Relationship Id="rId21" Type="http://schemas.openxmlformats.org/officeDocument/2006/relationships/image" Target="../media/image43.png"/><Relationship Id="rId22" Type="http://schemas.microsoft.com/office/2007/relationships/hdphoto" Target="../media/hdphoto11.wdp"/><Relationship Id="rId3" Type="http://schemas.openxmlformats.org/officeDocument/2006/relationships/image" Target="../media/image29.png"/><Relationship Id="rId4" Type="http://schemas.microsoft.com/office/2007/relationships/hdphoto" Target="../media/hdphoto7.wdp"/><Relationship Id="rId5" Type="http://schemas.openxmlformats.org/officeDocument/2006/relationships/image" Target="../media/image30.png"/><Relationship Id="rId6" Type="http://schemas.openxmlformats.org/officeDocument/2006/relationships/image" Target="../media/image31.png"/><Relationship Id="rId7" Type="http://schemas.openxmlformats.org/officeDocument/2006/relationships/image" Target="../media/image32.png"/><Relationship Id="rId8" Type="http://schemas.openxmlformats.org/officeDocument/2006/relationships/image" Target="../media/image33.png"/><Relationship Id="rId9" Type="http://schemas.openxmlformats.org/officeDocument/2006/relationships/image" Target="../media/image34.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49.png"/><Relationship Id="rId11" Type="http://schemas.openxmlformats.org/officeDocument/2006/relationships/image" Target="../media/image50.png"/><Relationship Id="rId12" Type="http://schemas.microsoft.com/office/2007/relationships/hdphoto" Target="../media/hdphoto14.wdp"/><Relationship Id="rId13" Type="http://schemas.openxmlformats.org/officeDocument/2006/relationships/image" Target="../media/image51.png"/><Relationship Id="rId14" Type="http://schemas.microsoft.com/office/2007/relationships/hdphoto" Target="../media/hdphoto15.wdp"/><Relationship Id="rId2" Type="http://schemas.openxmlformats.org/officeDocument/2006/relationships/image" Target="../media/image44.png"/><Relationship Id="rId3" Type="http://schemas.openxmlformats.org/officeDocument/2006/relationships/image" Target="../media/image45.png"/><Relationship Id="rId4" Type="http://schemas.openxmlformats.org/officeDocument/2006/relationships/image" Target="../media/image46.png"/><Relationship Id="rId5" Type="http://schemas.openxmlformats.org/officeDocument/2006/relationships/image" Target="../media/image47.png"/><Relationship Id="rId6" Type="http://schemas.microsoft.com/office/2007/relationships/hdphoto" Target="../media/hdphoto12.wdp"/><Relationship Id="rId7" Type="http://schemas.openxmlformats.org/officeDocument/2006/relationships/image" Target="../media/image48.png"/><Relationship Id="rId8" Type="http://schemas.microsoft.com/office/2007/relationships/hdphoto" Target="../media/hdphoto13.wdp"/><Relationship Id="rId9" Type="http://schemas.openxmlformats.org/officeDocument/2006/relationships/image" Target="../media/image35.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59.png"/><Relationship Id="rId11" Type="http://schemas.microsoft.com/office/2007/relationships/hdphoto" Target="../media/hdphoto16.wdp"/><Relationship Id="rId12" Type="http://schemas.openxmlformats.org/officeDocument/2006/relationships/image" Target="../media/image60.png"/><Relationship Id="rId13" Type="http://schemas.microsoft.com/office/2007/relationships/hdphoto" Target="../media/hdphoto17.wdp"/><Relationship Id="rId14" Type="http://schemas.openxmlformats.org/officeDocument/2006/relationships/image" Target="../media/image61.jpeg"/><Relationship Id="rId15" Type="http://schemas.openxmlformats.org/officeDocument/2006/relationships/image" Target="../media/image62.png"/><Relationship Id="rId16" Type="http://schemas.openxmlformats.org/officeDocument/2006/relationships/image" Target="../media/image63.jpeg"/><Relationship Id="rId17" Type="http://schemas.openxmlformats.org/officeDocument/2006/relationships/image" Target="../media/image64.png"/><Relationship Id="rId18" Type="http://schemas.openxmlformats.org/officeDocument/2006/relationships/image" Target="../media/image65.png"/><Relationship Id="rId19" Type="http://schemas.openxmlformats.org/officeDocument/2006/relationships/image" Target="../media/image66.jpeg"/><Relationship Id="rId2" Type="http://schemas.openxmlformats.org/officeDocument/2006/relationships/image" Target="../media/image52.png"/><Relationship Id="rId20" Type="http://schemas.openxmlformats.org/officeDocument/2006/relationships/image" Target="../media/image67.png"/><Relationship Id="rId21" Type="http://schemas.openxmlformats.org/officeDocument/2006/relationships/image" Target="../media/image68.png"/><Relationship Id="rId22" Type="http://schemas.openxmlformats.org/officeDocument/2006/relationships/image" Target="../media/image69.png"/><Relationship Id="rId23" Type="http://schemas.openxmlformats.org/officeDocument/2006/relationships/image" Target="../media/image70.png"/><Relationship Id="rId24" Type="http://schemas.microsoft.com/office/2007/relationships/hdphoto" Target="../media/hdphoto18.wdp"/><Relationship Id="rId25" Type="http://schemas.openxmlformats.org/officeDocument/2006/relationships/image" Target="../media/image71.png"/><Relationship Id="rId26" Type="http://schemas.openxmlformats.org/officeDocument/2006/relationships/image" Target="../media/image72.svg"/><Relationship Id="rId27" Type="http://schemas.openxmlformats.org/officeDocument/2006/relationships/image" Target="../media/image73.png"/><Relationship Id="rId28" Type="http://schemas.microsoft.com/office/2007/relationships/hdphoto" Target="../media/hdphoto19.wdp"/><Relationship Id="rId29" Type="http://schemas.openxmlformats.org/officeDocument/2006/relationships/image" Target="../media/image74.png"/><Relationship Id="rId3" Type="http://schemas.openxmlformats.org/officeDocument/2006/relationships/image" Target="../media/image35.png"/><Relationship Id="rId30" Type="http://schemas.openxmlformats.org/officeDocument/2006/relationships/image" Target="../media/image75.png"/><Relationship Id="rId31" Type="http://schemas.openxmlformats.org/officeDocument/2006/relationships/image" Target="../media/image76.jpeg"/><Relationship Id="rId32" Type="http://schemas.openxmlformats.org/officeDocument/2006/relationships/image" Target="../media/image77.png"/><Relationship Id="rId33" Type="http://schemas.openxmlformats.org/officeDocument/2006/relationships/image" Target="../media/image78.png"/><Relationship Id="rId34" Type="http://schemas.openxmlformats.org/officeDocument/2006/relationships/image" Target="../media/image79.png"/><Relationship Id="rId35" Type="http://schemas.openxmlformats.org/officeDocument/2006/relationships/image" Target="../media/image80.png"/><Relationship Id="rId36" Type="http://schemas.microsoft.com/office/2007/relationships/hdphoto" Target="../media/hdphoto20.wdp"/><Relationship Id="rId37" Type="http://schemas.openxmlformats.org/officeDocument/2006/relationships/image" Target="../media/image81.png"/><Relationship Id="rId38" Type="http://schemas.openxmlformats.org/officeDocument/2006/relationships/image" Target="../media/image82.png"/><Relationship Id="rId39" Type="http://schemas.openxmlformats.org/officeDocument/2006/relationships/image" Target="../media/image83.png"/><Relationship Id="rId4" Type="http://schemas.openxmlformats.org/officeDocument/2006/relationships/image" Target="../media/image53.png"/><Relationship Id="rId40" Type="http://schemas.microsoft.com/office/2007/relationships/hdphoto" Target="../media/hdphoto21.wdp"/><Relationship Id="rId5" Type="http://schemas.openxmlformats.org/officeDocument/2006/relationships/image" Target="../media/image54.png"/><Relationship Id="rId6" Type="http://schemas.openxmlformats.org/officeDocument/2006/relationships/image" Target="../media/image55.png"/><Relationship Id="rId7" Type="http://schemas.openxmlformats.org/officeDocument/2006/relationships/image" Target="../media/image56.png"/><Relationship Id="rId8" Type="http://schemas.openxmlformats.org/officeDocument/2006/relationships/image" Target="../media/image57.emf"/><Relationship Id="rId9" Type="http://schemas.openxmlformats.org/officeDocument/2006/relationships/image" Target="../media/image58.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88.png"/><Relationship Id="rId11" Type="http://schemas.openxmlformats.org/officeDocument/2006/relationships/image" Target="../media/image89.png"/><Relationship Id="rId12" Type="http://schemas.microsoft.com/office/2007/relationships/hdphoto" Target="../media/hdphoto25.wdp"/><Relationship Id="rId13" Type="http://schemas.openxmlformats.org/officeDocument/2006/relationships/image" Target="../media/image90.png"/><Relationship Id="rId14" Type="http://schemas.microsoft.com/office/2007/relationships/hdphoto" Target="../media/hdphoto26.wdp"/><Relationship Id="rId15" Type="http://schemas.openxmlformats.org/officeDocument/2006/relationships/image" Target="../media/image91.png"/><Relationship Id="rId16" Type="http://schemas.microsoft.com/office/2007/relationships/hdphoto" Target="../media/hdphoto27.wdp"/><Relationship Id="rId17" Type="http://schemas.openxmlformats.org/officeDocument/2006/relationships/image" Target="../media/image92.png"/><Relationship Id="rId18" Type="http://schemas.microsoft.com/office/2007/relationships/hdphoto" Target="../media/hdphoto28.wdp"/><Relationship Id="rId19" Type="http://schemas.openxmlformats.org/officeDocument/2006/relationships/image" Target="../media/image93.png"/><Relationship Id="rId2" Type="http://schemas.openxmlformats.org/officeDocument/2006/relationships/image" Target="../media/image84.png"/><Relationship Id="rId20" Type="http://schemas.microsoft.com/office/2007/relationships/hdphoto" Target="../media/hdphoto29.wdp"/><Relationship Id="rId21" Type="http://schemas.openxmlformats.org/officeDocument/2006/relationships/image" Target="../media/image94.png"/><Relationship Id="rId22" Type="http://schemas.openxmlformats.org/officeDocument/2006/relationships/image" Target="../media/image95.png"/><Relationship Id="rId23" Type="http://schemas.openxmlformats.org/officeDocument/2006/relationships/image" Target="../media/image96.png"/><Relationship Id="rId24" Type="http://schemas.microsoft.com/office/2007/relationships/hdphoto" Target="../media/hdphoto30.wdp"/><Relationship Id="rId25" Type="http://schemas.openxmlformats.org/officeDocument/2006/relationships/image" Target="../media/image97.png"/><Relationship Id="rId26" Type="http://schemas.microsoft.com/office/2007/relationships/hdphoto" Target="../media/hdphoto31.wdp"/><Relationship Id="rId3" Type="http://schemas.microsoft.com/office/2007/relationships/hdphoto" Target="../media/hdphoto22.wdp"/><Relationship Id="rId4" Type="http://schemas.openxmlformats.org/officeDocument/2006/relationships/image" Target="../media/image35.png"/><Relationship Id="rId5" Type="http://schemas.openxmlformats.org/officeDocument/2006/relationships/image" Target="../media/image85.png"/><Relationship Id="rId6" Type="http://schemas.microsoft.com/office/2007/relationships/hdphoto" Target="../media/hdphoto23.wdp"/><Relationship Id="rId7" Type="http://schemas.openxmlformats.org/officeDocument/2006/relationships/image" Target="../media/image86.png"/><Relationship Id="rId8" Type="http://schemas.openxmlformats.org/officeDocument/2006/relationships/image" Target="../media/image87.png"/><Relationship Id="rId9" Type="http://schemas.microsoft.com/office/2007/relationships/hdphoto" Target="../media/hdphoto24.wdp"/></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7.xml"/><Relationship Id="rId3" Type="http://schemas.openxmlformats.org/officeDocument/2006/relationships/image" Target="../media/image98.jpeg"/><Relationship Id="rId4" Type="http://schemas.openxmlformats.org/officeDocument/2006/relationships/image" Target="../media/image99.jpeg"/></Relationships>
</file>

<file path=ppt/slides/_rels/slide19.xml.rels><?xml version='1.0' encoding='UTF-8' standalone='yes'?>
<Relationships xmlns="http://schemas.openxmlformats.org/package/2006/relationships"><Relationship Id="rId1" Type="http://schemas.openxmlformats.org/officeDocument/2006/relationships/tags" Target="../tags/tag1.xml"/><Relationship Id="rId10" Type="http://schemas.openxmlformats.org/officeDocument/2006/relationships/image" Target="../media/image103.svg"/><Relationship Id="rId11" Type="http://schemas.openxmlformats.org/officeDocument/2006/relationships/image" Target="../media/image104.png"/><Relationship Id="rId12" Type="http://schemas.openxmlformats.org/officeDocument/2006/relationships/image" Target="../media/image105.svg"/><Relationship Id="rId13" Type="http://schemas.openxmlformats.org/officeDocument/2006/relationships/image" Target="../media/image106.png"/><Relationship Id="rId14" Type="http://schemas.openxmlformats.org/officeDocument/2006/relationships/image" Target="../media/image107.svg"/><Relationship Id="rId2" Type="http://schemas.openxmlformats.org/officeDocument/2006/relationships/tags" Target="../tags/tag2.xml"/><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tags" Target="../tags/tag5.xml"/><Relationship Id="rId6" Type="http://schemas.openxmlformats.org/officeDocument/2006/relationships/slideLayout" Target="../slideLayouts/slideLayout29.xml"/><Relationship Id="rId7" Type="http://schemas.openxmlformats.org/officeDocument/2006/relationships/image" Target="../media/image100.png"/><Relationship Id="rId8" Type="http://schemas.openxmlformats.org/officeDocument/2006/relationships/image" Target="../media/image101.svg"/><Relationship Id="rId9" Type="http://schemas.openxmlformats.org/officeDocument/2006/relationships/image" Target="../media/image102.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08.jpeg"/><Relationship Id="rId3" Type="http://schemas.openxmlformats.org/officeDocument/2006/relationships/image" Target="../media/image109.png"/><Relationship Id="rId4" Type="http://schemas.microsoft.com/office/2007/relationships/hdphoto" Target="../media/hdphoto32.wdp"/></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microsoft.com/office/2018/10/relationships/comments" Target="../comments/modernComment_E36_CE009A85.xml"/><Relationship Id="rId3" Type="http://schemas.openxmlformats.org/officeDocument/2006/relationships/image" Target="../media/image110.jpe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5.xml"/><Relationship Id="rId2" Type="http://schemas.microsoft.com/office/2018/10/relationships/comments" Target="../comments/modernComment_E37_B89C8ADA.xml"/><Relationship Id="rId3" Type="http://schemas.openxmlformats.org/officeDocument/2006/relationships/image" Target="../media/image111.png"/><Relationship Id="rId4" Type="http://schemas.openxmlformats.org/officeDocument/2006/relationships/image" Target="../media/image112.jpe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13.jpeg"/><Relationship Id="rId3" Type="http://schemas.openxmlformats.org/officeDocument/2006/relationships/image" Target="../media/image114.jpe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xml"/><Relationship Id="rId3" Type="http://schemas.openxmlformats.org/officeDocument/2006/relationships/image" Target="../media/image115.jpe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microsoft.com/office/2018/10/relationships/comments" Target="../comments/modernComment_7FFFD04B_FDF57C1.xml"/><Relationship Id="rId3" Type="http://schemas.openxmlformats.org/officeDocument/2006/relationships/image" Target="../media/image116.jpeg"/><Relationship Id="rId4" Type="http://schemas.openxmlformats.org/officeDocument/2006/relationships/diagramData" Target="../diagrams/data1.xml"/><Relationship Id="rId5" Type="http://schemas.openxmlformats.org/officeDocument/2006/relationships/diagramLayout" Target="../diagrams/layout1.xml"/><Relationship Id="rId6" Type="http://schemas.openxmlformats.org/officeDocument/2006/relationships/diagramQuickStyle" Target="../diagrams/quickStyle1.xml"/><Relationship Id="rId7" Type="http://schemas.openxmlformats.org/officeDocument/2006/relationships/diagramColors" Target="../diagrams/colors1.xml"/><Relationship Id="rId8" Type="http://schemas.microsoft.com/office/2007/relationships/diagramDrawing" Target="../diagrams/drawing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5.xml"/><Relationship Id="rId10" Type="http://schemas.openxmlformats.org/officeDocument/2006/relationships/diagramColors" Target="../diagrams/colors3.xml"/><Relationship Id="rId11" Type="http://schemas.microsoft.com/office/2007/relationships/diagramDrawing" Target="../diagrams/drawing3.xml"/><Relationship Id="rId12" Type="http://schemas.openxmlformats.org/officeDocument/2006/relationships/diagramData" Target="../diagrams/data4.xml"/><Relationship Id="rId13" Type="http://schemas.openxmlformats.org/officeDocument/2006/relationships/diagramLayout" Target="../diagrams/layout4.xml"/><Relationship Id="rId14" Type="http://schemas.openxmlformats.org/officeDocument/2006/relationships/diagramQuickStyle" Target="../diagrams/quickStyle4.xml"/><Relationship Id="rId15" Type="http://schemas.openxmlformats.org/officeDocument/2006/relationships/diagramColors" Target="../diagrams/colors4.xml"/><Relationship Id="rId16" Type="http://schemas.microsoft.com/office/2007/relationships/diagramDrawing" Target="../diagrams/drawing4.xml"/><Relationship Id="rId17" Type="http://schemas.openxmlformats.org/officeDocument/2006/relationships/diagramData" Target="../diagrams/data5.xml"/><Relationship Id="rId18" Type="http://schemas.openxmlformats.org/officeDocument/2006/relationships/diagramLayout" Target="../diagrams/layout5.xml"/><Relationship Id="rId19" Type="http://schemas.openxmlformats.org/officeDocument/2006/relationships/diagramQuickStyle" Target="../diagrams/quickStyle5.xml"/><Relationship Id="rId2" Type="http://schemas.openxmlformats.org/officeDocument/2006/relationships/diagramData" Target="../diagrams/data2.xml"/><Relationship Id="rId20" Type="http://schemas.openxmlformats.org/officeDocument/2006/relationships/diagramColors" Target="../diagrams/colors5.xml"/><Relationship Id="rId21" Type="http://schemas.microsoft.com/office/2007/relationships/diagramDrawing" Target="../diagrams/drawing5.xml"/><Relationship Id="rId3" Type="http://schemas.openxmlformats.org/officeDocument/2006/relationships/diagramLayout" Target="../diagrams/layout2.xml"/><Relationship Id="rId4" Type="http://schemas.openxmlformats.org/officeDocument/2006/relationships/diagramQuickStyle" Target="../diagrams/quickStyle2.xml"/><Relationship Id="rId5" Type="http://schemas.openxmlformats.org/officeDocument/2006/relationships/diagramColors" Target="../diagrams/colors2.xml"/><Relationship Id="rId6" Type="http://schemas.microsoft.com/office/2007/relationships/diagramDrawing" Target="../diagrams/drawing2.xml"/><Relationship Id="rId7" Type="http://schemas.openxmlformats.org/officeDocument/2006/relationships/diagramData" Target="../diagrams/data3.xml"/><Relationship Id="rId8" Type="http://schemas.openxmlformats.org/officeDocument/2006/relationships/diagramLayout" Target="../diagrams/layout3.xml"/><Relationship Id="rId9" Type="http://schemas.openxmlformats.org/officeDocument/2006/relationships/diagramQuickStyle" Target="../diagrams/quickStyle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113.jpe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diagramData" Target="../diagrams/data6.xml"/><Relationship Id="rId3" Type="http://schemas.openxmlformats.org/officeDocument/2006/relationships/diagramLayout" Target="../diagrams/layout6.xml"/><Relationship Id="rId4" Type="http://schemas.openxmlformats.org/officeDocument/2006/relationships/diagramQuickStyle" Target="../diagrams/quickStyle6.xml"/><Relationship Id="rId5" Type="http://schemas.openxmlformats.org/officeDocument/2006/relationships/diagramColors" Target="../diagrams/colors6.xml"/><Relationship Id="rId6" Type="http://schemas.microsoft.com/office/2007/relationships/diagramDrawing" Target="../diagrams/drawing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5.png"/><Relationship Id="rId3" Type="http://schemas.openxmlformats.org/officeDocument/2006/relationships/image" Target="../media/image6.png"/><Relationship Id="rId4" Type="http://schemas.microsoft.com/office/2007/relationships/hdphoto" Target="../media/hdphoto1.wdp"/></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microsoft.com/office/2018/10/relationships/comments" Target="../comments/modernComment_7FFFD014_E4D1D6E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117.jpeg"/><Relationship Id="rId3" Type="http://schemas.openxmlformats.org/officeDocument/2006/relationships/image" Target="../media/image118.jpe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2.xml"/><Relationship Id="rId2" Type="http://schemas.openxmlformats.org/officeDocument/2006/relationships/image" Target="../media/image116.jpe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19.jpeg"/><Relationship Id="rId3" Type="http://schemas.openxmlformats.org/officeDocument/2006/relationships/image" Target="../media/image120.jpe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9.xml"/><Relationship Id="rId3" Type="http://schemas.microsoft.com/office/2018/10/relationships/comments" Target="../comments/modernComment_7FFFCFF9_63A33.xml"/><Relationship Id="rId4" Type="http://schemas.openxmlformats.org/officeDocument/2006/relationships/image" Target="../media/image121.jpe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22.jpe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image" Target="../media/image123.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image" Target="../media/image130.svg"/><Relationship Id="rId11" Type="http://schemas.openxmlformats.org/officeDocument/2006/relationships/image" Target="../media/image131.png"/><Relationship Id="rId12" Type="http://schemas.openxmlformats.org/officeDocument/2006/relationships/image" Target="../media/image132.svg"/><Relationship Id="rId2" Type="http://schemas.openxmlformats.org/officeDocument/2006/relationships/notesSlide" Target="../notesSlides/notesSlide10.xml"/><Relationship Id="rId3" Type="http://schemas.openxmlformats.org/officeDocument/2006/relationships/image" Target="../media/image123.png"/><Relationship Id="rId4" Type="http://schemas.openxmlformats.org/officeDocument/2006/relationships/image" Target="../media/image124.png"/><Relationship Id="rId5" Type="http://schemas.openxmlformats.org/officeDocument/2006/relationships/image" Target="../media/image125.svg"/><Relationship Id="rId6" Type="http://schemas.openxmlformats.org/officeDocument/2006/relationships/image" Target="../media/image126.png"/><Relationship Id="rId7" Type="http://schemas.openxmlformats.org/officeDocument/2006/relationships/image" Target="../media/image127.svg"/><Relationship Id="rId8" Type="http://schemas.openxmlformats.org/officeDocument/2006/relationships/image" Target="../media/image128.png"/><Relationship Id="rId9" Type="http://schemas.openxmlformats.org/officeDocument/2006/relationships/image" Target="../media/image129.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microsoft.com/office/2018/10/relationships/comments" Target="../comments/modernComment_DD9_43C6E3C5.xml"/><Relationship Id="rId3" Type="http://schemas.openxmlformats.org/officeDocument/2006/relationships/image" Target="../media/image133.jpeg"/><Relationship Id="rId4" Type="http://schemas.openxmlformats.org/officeDocument/2006/relationships/image" Target="../media/image134.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11.xml"/><Relationship Id="rId3" Type="http://schemas.openxmlformats.org/officeDocument/2006/relationships/image" Target="../media/image135.png"/><Relationship Id="rId4" Type="http://schemas.openxmlformats.org/officeDocument/2006/relationships/image" Target="../media/image136.png"/><Relationship Id="rId5" Type="http://schemas.openxmlformats.org/officeDocument/2006/relationships/image" Target="../media/image137.png"/><Relationship Id="rId6" Type="http://schemas.openxmlformats.org/officeDocument/2006/relationships/image" Target="../media/image138.png"/><Relationship Id="rId7" Type="http://schemas.openxmlformats.org/officeDocument/2006/relationships/image" Target="../media/image139.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8.xml"/><Relationship Id="rId2" Type="http://schemas.openxmlformats.org/officeDocument/2006/relationships/image" Target="../media/image7.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2.xml"/><Relationship Id="rId3" Type="http://schemas.openxmlformats.org/officeDocument/2006/relationships/image" Target="../media/image140.jpe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image" Target="../media/image147.png"/><Relationship Id="rId11" Type="http://schemas.openxmlformats.org/officeDocument/2006/relationships/image" Target="../media/image148.png"/><Relationship Id="rId12" Type="http://schemas.openxmlformats.org/officeDocument/2006/relationships/image" Target="../media/image149.png"/><Relationship Id="rId13" Type="http://schemas.openxmlformats.org/officeDocument/2006/relationships/image" Target="../media/image150.png"/><Relationship Id="rId14" Type="http://schemas.openxmlformats.org/officeDocument/2006/relationships/image" Target="../media/image151.png"/><Relationship Id="rId15" Type="http://schemas.openxmlformats.org/officeDocument/2006/relationships/image" Target="../media/image152.png"/><Relationship Id="rId16" Type="http://schemas.openxmlformats.org/officeDocument/2006/relationships/image" Target="../media/image153.png"/><Relationship Id="rId17" Type="http://schemas.openxmlformats.org/officeDocument/2006/relationships/image" Target="../media/image154.png"/><Relationship Id="rId18" Type="http://schemas.openxmlformats.org/officeDocument/2006/relationships/image" Target="../media/image155.png"/><Relationship Id="rId19" Type="http://schemas.openxmlformats.org/officeDocument/2006/relationships/image" Target="../media/image156.jpeg"/><Relationship Id="rId2" Type="http://schemas.openxmlformats.org/officeDocument/2006/relationships/notesSlide" Target="../notesSlides/notesSlide13.xml"/><Relationship Id="rId20" Type="http://schemas.openxmlformats.org/officeDocument/2006/relationships/image" Target="../media/image157.png"/><Relationship Id="rId21" Type="http://schemas.openxmlformats.org/officeDocument/2006/relationships/image" Target="../media/image158.png"/><Relationship Id="rId22" Type="http://schemas.openxmlformats.org/officeDocument/2006/relationships/image" Target="../media/image159.png"/><Relationship Id="rId23" Type="http://schemas.openxmlformats.org/officeDocument/2006/relationships/image" Target="../media/image160.png"/><Relationship Id="rId24" Type="http://schemas.openxmlformats.org/officeDocument/2006/relationships/image" Target="../media/image161.png"/><Relationship Id="rId25" Type="http://schemas.openxmlformats.org/officeDocument/2006/relationships/image" Target="../media/image162.png"/><Relationship Id="rId26" Type="http://schemas.openxmlformats.org/officeDocument/2006/relationships/image" Target="../media/image163.png"/><Relationship Id="rId27" Type="http://schemas.openxmlformats.org/officeDocument/2006/relationships/image" Target="../media/image164.png"/><Relationship Id="rId28" Type="http://schemas.openxmlformats.org/officeDocument/2006/relationships/image" Target="../media/image165.png"/><Relationship Id="rId29" Type="http://schemas.openxmlformats.org/officeDocument/2006/relationships/image" Target="../media/image166.png"/><Relationship Id="rId3" Type="http://schemas.openxmlformats.org/officeDocument/2006/relationships/image" Target="../media/image98.jpeg"/><Relationship Id="rId4" Type="http://schemas.openxmlformats.org/officeDocument/2006/relationships/image" Target="../media/image141.png"/><Relationship Id="rId5" Type="http://schemas.openxmlformats.org/officeDocument/2006/relationships/image" Target="../media/image142.png"/><Relationship Id="rId6" Type="http://schemas.openxmlformats.org/officeDocument/2006/relationships/image" Target="../media/image143.png"/><Relationship Id="rId7" Type="http://schemas.openxmlformats.org/officeDocument/2006/relationships/image" Target="../media/image144.png"/><Relationship Id="rId8" Type="http://schemas.openxmlformats.org/officeDocument/2006/relationships/image" Target="../media/image145.png"/><Relationship Id="rId9" Type="http://schemas.openxmlformats.org/officeDocument/2006/relationships/image" Target="../media/image146.png"/></Relationships>
</file>

<file path=ppt/slides/_rels/slide42.xml.rels><?xml version='1.0' encoding='UTF-8' standalone='yes'?>
<Relationships xmlns="http://schemas.openxmlformats.org/package/2006/relationships"><Relationship Id="rId1" Type="http://schemas.openxmlformats.org/officeDocument/2006/relationships/themeOverride" Target="../theme/themeOverride1.xml"/><Relationship Id="rId2" Type="http://schemas.openxmlformats.org/officeDocument/2006/relationships/slideLayout" Target="../slideLayouts/slideLayout12.xml"/><Relationship Id="rId3" Type="http://schemas.microsoft.com/office/2018/10/relationships/comments" Target="../comments/modernComment_E50_9ED53407.xml"/><Relationship Id="rId4" Type="http://schemas.openxmlformats.org/officeDocument/2006/relationships/image" Target="../media/image167.png"/><Relationship Id="rId5" Type="http://schemas.microsoft.com/office/2007/relationships/hdphoto" Target="../media/hdphoto33.wdp"/><Relationship Id="rId6" Type="http://schemas.openxmlformats.org/officeDocument/2006/relationships/image" Target="../media/image168.png"/></Relationships>
</file>

<file path=ppt/slides/_rels/slide43.xml.rels><?xml version='1.0' encoding='UTF-8' standalone='yes'?>
<Relationships xmlns="http://schemas.openxmlformats.org/package/2006/relationships"><Relationship Id="rId1" Type="http://schemas.openxmlformats.org/officeDocument/2006/relationships/themeOverride" Target="../theme/themeOverride2.xml"/><Relationship Id="rId2" Type="http://schemas.openxmlformats.org/officeDocument/2006/relationships/slideLayout" Target="../slideLayouts/slideLayout1.xml"/><Relationship Id="rId3" Type="http://schemas.openxmlformats.org/officeDocument/2006/relationships/notesSlide" Target="../notesSlides/notesSlide14.xml"/><Relationship Id="rId4" Type="http://schemas.openxmlformats.org/officeDocument/2006/relationships/image" Target="../media/image169.jpeg"/><Relationship Id="rId5" Type="http://schemas.openxmlformats.org/officeDocument/2006/relationships/image" Target="../media/image170.png"/><Relationship Id="rId6" Type="http://schemas.openxmlformats.org/officeDocument/2006/relationships/image" Target="../media/image171.sv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5.xml"/><Relationship Id="rId3" Type="http://schemas.openxmlformats.org/officeDocument/2006/relationships/image" Target="../media/image172.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image" Target="../media/image8.png"/><Relationship Id="rId3" Type="http://schemas.openxmlformats.org/officeDocument/2006/relationships/image" Target="../media/image9.svg"/><Relationship Id="rId4" Type="http://schemas.openxmlformats.org/officeDocument/2006/relationships/image" Target="../media/image10.png"/><Relationship Id="rId5" Type="http://schemas.openxmlformats.org/officeDocument/2006/relationships/image" Target="../media/image11.png"/><Relationship Id="rId6" Type="http://schemas.microsoft.com/office/2007/relationships/hdphoto" Target="../media/hdphoto2.wdp"/></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1.xml"/><Relationship Id="rId3" Type="http://schemas.openxmlformats.org/officeDocument/2006/relationships/image" Target="../media/image12.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2.xml"/><Relationship Id="rId3" Type="http://schemas.openxmlformats.org/officeDocument/2006/relationships/image" Target="../media/image12.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3.xml"/><Relationship Id="rId3" Type="http://schemas.openxmlformats.org/officeDocument/2006/relationships/image" Target="../media/image12.jpe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CCB76A"/>
        </a:solidFill>
        <a:effectLst/>
      </p:bgPr>
    </p:bg>
    <p:spTree>
      <p:nvGrpSpPr>
        <p:cNvPr id="1" name=""/>
        <p:cNvGrpSpPr/>
        <p:nvPr/>
      </p:nvGrpSpPr>
      <p:grpSpPr>
        <a:xfrm>
          <a:off x="0" y="0"/>
          <a:ext cx="0" cy="0"/>
          <a:chOff x="0" y="0"/>
          <a:chExt cx="0" cy="0"/>
        </a:xfrm>
      </p:grpSpPr>
      <p:pic>
        <p:nvPicPr>
          <p:cNvPr id="2" name="Picture 1" descr="A picture containing dark, tower&#10;&#10;Description automatically generated">
            <a:extLst>
              <a:ext uri="{FF2B5EF4-FFF2-40B4-BE49-F238E27FC236}">
                <a16:creationId xmlns:a16="http://schemas.microsoft.com/office/drawing/2014/main" id="{46D4BD9D-06DA-CEAD-6CAF-1665F3746A01}"/>
              </a:ext>
            </a:extLst>
          </p:cNvPr>
          <p:cNvPicPr>
            <a:picLocks/>
          </p:cNvPicPr>
          <p:nvPr/>
        </p:nvPicPr>
        <p:blipFill>
          <a:blip r:embed="rId3" cstate="print">
            <a:extLst>
              <a:ext uri="{28A0092B-C50C-407E-A947-70E740481C1C}">
                <a14:useLocalDpi xmlns:a14="http://schemas.microsoft.com/office/drawing/2010/main" val="0"/>
              </a:ext>
            </a:extLst>
          </a:blip>
          <a:stretch>
            <a:fillRect/>
          </a:stretch>
        </p:blipFill>
        <p:spPr>
          <a:xfrm>
            <a:off x="0" y="299416"/>
            <a:ext cx="12192000" cy="6259168"/>
          </a:xfrm>
          <a:prstGeom prst="rect">
            <a:avLst/>
          </a:prstGeom>
        </p:spPr>
      </p:pic>
      <p:sp>
        <p:nvSpPr>
          <p:cNvPr id="6" name="Rectangle 5">
            <a:extLst>
              <a:ext uri="{FF2B5EF4-FFF2-40B4-BE49-F238E27FC236}">
                <a16:creationId xmlns:a16="http://schemas.microsoft.com/office/drawing/2014/main" id="{FCE6D3E6-4500-A3DD-F41E-7B7E95A16F19}"/>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AF1E099E-21DB-1658-EAFA-48B3AD41EE41}"/>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2221CE14-90C6-B649-E734-9FD8BD1EABBC}"/>
              </a:ext>
            </a:extLst>
          </p:cNvPr>
          <p:cNvSpPr/>
          <p:nvPr/>
        </p:nvSpPr>
        <p:spPr>
          <a:xfrm>
            <a:off x="3957333" y="4366632"/>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3">
            <a:extLst>
              <a:ext uri="{FF2B5EF4-FFF2-40B4-BE49-F238E27FC236}">
                <a16:creationId xmlns:a16="http://schemas.microsoft.com/office/drawing/2014/main" id="{6F68C771-E95B-DA44-242F-4C1C373D8EAE}"/>
              </a:ext>
            </a:extLst>
          </p:cNvPr>
          <p:cNvSpPr/>
          <p:nvPr/>
        </p:nvSpPr>
        <p:spPr>
          <a:xfrm>
            <a:off x="2375544" y="1247274"/>
            <a:ext cx="7440912" cy="4363452"/>
          </a:xfrm>
          <a:prstGeom prst="rect">
            <a:avLst/>
          </a:prstGeom>
          <a:solidFill>
            <a:schemeClr val="tx1">
              <a:alpha val="85000"/>
            </a:schemeClr>
          </a:solidFill>
        </p:spPr>
        <p:txBody>
          <a:bodyPr/>
          <a:lstStyle/>
          <a:p>
            <a:endParaRPr lang="en-US" dirty="0">
              <a:solidFill>
                <a:schemeClr val="bg1"/>
              </a:solidFill>
            </a:endParaRPr>
          </a:p>
        </p:txBody>
      </p:sp>
      <p:sp>
        <p:nvSpPr>
          <p:cNvPr id="12" name="AutoShape 6">
            <a:extLst>
              <a:ext uri="{FF2B5EF4-FFF2-40B4-BE49-F238E27FC236}">
                <a16:creationId xmlns:a16="http://schemas.microsoft.com/office/drawing/2014/main" id="{7F1C737A-CBB3-8B88-6C67-E77C7CFD0EF5}"/>
              </a:ext>
            </a:extLst>
          </p:cNvPr>
          <p:cNvSpPr/>
          <p:nvPr/>
        </p:nvSpPr>
        <p:spPr>
          <a:xfrm>
            <a:off x="3444240" y="3156366"/>
            <a:ext cx="5303520" cy="64008"/>
          </a:xfrm>
          <a:prstGeom prst="rect">
            <a:avLst/>
          </a:prstGeom>
          <a:solidFill>
            <a:srgbClr val="CCB76A"/>
          </a:solidFill>
        </p:spPr>
        <p:txBody>
          <a:bodyPr/>
          <a:lstStyle/>
          <a:p>
            <a:endParaRPr lang="en-US"/>
          </a:p>
        </p:txBody>
      </p:sp>
      <p:sp>
        <p:nvSpPr>
          <p:cNvPr id="15" name="TextBox 7">
            <a:extLst>
              <a:ext uri="{FF2B5EF4-FFF2-40B4-BE49-F238E27FC236}">
                <a16:creationId xmlns:a16="http://schemas.microsoft.com/office/drawing/2014/main" id="{9C65CEDA-8167-4265-D93A-E9558806C102}"/>
              </a:ext>
            </a:extLst>
          </p:cNvPr>
          <p:cNvSpPr txBox="1"/>
          <p:nvPr/>
        </p:nvSpPr>
        <p:spPr>
          <a:xfrm>
            <a:off x="2889504" y="3338199"/>
            <a:ext cx="6205728" cy="1292662"/>
          </a:xfrm>
          <a:prstGeom prst="rect">
            <a:avLst/>
          </a:prstGeom>
        </p:spPr>
        <p:txBody>
          <a:bodyPr wrap="square" lIns="0" tIns="0" rIns="0" bIns="0" rtlCol="0" anchor="t">
            <a:spAutoFit/>
          </a:bodyPr>
          <a:lstStyle/>
          <a:p>
            <a:pPr marL="0" marR="0" lvl="0" indent="0" algn="ctr" defTabSz="85725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 PROPOSAL –</a:t>
            </a:r>
          </a:p>
          <a:p>
            <a:pPr marL="0" marR="0" lvl="0" indent="0" algn="ctr" defTabSz="85725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AUDITING SERVICES </a:t>
            </a:r>
          </a:p>
          <a:p>
            <a:pPr marL="0" marR="0" lvl="0" indent="0" algn="ctr" defTabSz="857250" rtl="0" eaLnBrk="1" fontAlgn="auto" latinLnBrk="0" hangingPunct="1">
              <a:lnSpc>
                <a:spcPct val="100000"/>
              </a:lnSpc>
              <a:spcBef>
                <a:spcPts val="0"/>
              </a:spcBef>
              <a:spcAft>
                <a:spcPts val="0"/>
              </a:spcAft>
              <a:buClrTx/>
              <a:buSzTx/>
              <a:buFontTx/>
              <a:buNone/>
              <a:tabLst/>
              <a:defRPr/>
            </a:pPr>
            <a:r>
              <a:rPr lang="en-US" sz="2800" b="1" spc="-43" dirty="0">
                <a:solidFill>
                  <a:prstClr val="white"/>
                </a:solidFill>
                <a:latin typeface="Calibri" panose="020F0502020204030204" pitchFamily="34" charset="0"/>
                <a:cs typeface="Calibri" panose="020F0502020204030204" pitchFamily="34" charset="0"/>
              </a:rPr>
              <a:t>SAMA CSF</a:t>
            </a:r>
            <a:endPar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6" name="Rectangle 15">
            <a:extLst>
              <a:ext uri="{FF2B5EF4-FFF2-40B4-BE49-F238E27FC236}">
                <a16:creationId xmlns:a16="http://schemas.microsoft.com/office/drawing/2014/main" id="{07BC8330-05FB-276F-35E3-174D9C87576C}"/>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7" name="Rectangle 16">
            <a:extLst>
              <a:ext uri="{FF2B5EF4-FFF2-40B4-BE49-F238E27FC236}">
                <a16:creationId xmlns:a16="http://schemas.microsoft.com/office/drawing/2014/main" id="{D85D664D-2FBE-1248-A262-C092152A4744}"/>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8" name="Rectangle 17">
            <a:extLst>
              <a:ext uri="{FF2B5EF4-FFF2-40B4-BE49-F238E27FC236}">
                <a16:creationId xmlns:a16="http://schemas.microsoft.com/office/drawing/2014/main" id="{56836957-7F07-B7F4-B375-8B1884509394}"/>
              </a:ext>
            </a:extLst>
          </p:cNvPr>
          <p:cNvSpPr/>
          <p:nvPr/>
        </p:nvSpPr>
        <p:spPr>
          <a:xfrm>
            <a:off x="3957333" y="4174128"/>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pic>
        <p:nvPicPr>
          <p:cNvPr id="20" name="Picture 19" descr="Logo&#10;&#10;Description automatically generated">
            <a:extLst>
              <a:ext uri="{FF2B5EF4-FFF2-40B4-BE49-F238E27FC236}">
                <a16:creationId xmlns:a16="http://schemas.microsoft.com/office/drawing/2014/main" id="{65E52013-03F9-ACF7-8E20-E5C5DC93784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66522" y="2262593"/>
            <a:ext cx="1407152" cy="701269"/>
          </a:xfrm>
          <a:prstGeom prst="rect">
            <a:avLst/>
          </a:prstGeom>
        </p:spPr>
      </p:pic>
      <p:sp>
        <p:nvSpPr>
          <p:cNvPr id="9" name="Freeform 11">
            <a:extLst>
              <a:ext uri="{FF2B5EF4-FFF2-40B4-BE49-F238E27FC236}">
                <a16:creationId xmlns:a16="http://schemas.microsoft.com/office/drawing/2014/main" id="{28BDE1CB-6A11-BB41-D3CE-72C508879B79}"/>
              </a:ext>
            </a:extLst>
          </p:cNvPr>
          <p:cNvSpPr/>
          <p:nvPr/>
        </p:nvSpPr>
        <p:spPr>
          <a:xfrm rot="10800000">
            <a:off x="9438323" y="524242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4" name="Freeform 12">
            <a:extLst>
              <a:ext uri="{FF2B5EF4-FFF2-40B4-BE49-F238E27FC236}">
                <a16:creationId xmlns:a16="http://schemas.microsoft.com/office/drawing/2014/main" id="{C774A93E-B491-B2E5-F0A3-9E9F2F09DF19}"/>
              </a:ext>
            </a:extLst>
          </p:cNvPr>
          <p:cNvSpPr/>
          <p:nvPr/>
        </p:nvSpPr>
        <p:spPr>
          <a:xfrm>
            <a:off x="2247208" y="112198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 name="TextBox 24">
            <a:extLst>
              <a:ext uri="{FF2B5EF4-FFF2-40B4-BE49-F238E27FC236}">
                <a16:creationId xmlns:a16="http://schemas.microsoft.com/office/drawing/2014/main" id="{B76AB2C9-E38D-E1C1-9650-DBB604118E0B}"/>
              </a:ext>
            </a:extLst>
          </p:cNvPr>
          <p:cNvSpPr txBox="1"/>
          <p:nvPr/>
        </p:nvSpPr>
        <p:spPr>
          <a:xfrm>
            <a:off x="5094028" y="5085610"/>
            <a:ext cx="2003947" cy="461665"/>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Date of Submission: 2023-10-01</a:t>
            </a:r>
            <a:endParaRPr lang="en-US" sz="1200" b="0" i="0" u="none" strike="noStrike" kern="1200" cap="none" spc="0" normalizeH="0" baseline="0" noProof="0" dirty="0">
              <a:ln>
                <a:noFill/>
              </a:ln>
              <a:effectLst/>
              <a:highlight>
                <a:srgbClr val="FFFF00"/>
              </a:highlight>
              <a:uLnTx/>
              <a:uFillTx/>
              <a:latin typeface="Calibri"/>
              <a:ea typeface="Calibri"/>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Version 1.0</a:t>
            </a:r>
            <a:endParaRPr lang="en-US" sz="1200" b="1" i="0" u="none" strike="noStrike" kern="1200" cap="none" spc="0" normalizeH="0" baseline="0" noProof="0" dirty="0">
              <a:ln>
                <a:noFill/>
              </a:ln>
              <a:solidFill>
                <a:srgbClr val="CCB76A"/>
              </a:solidFill>
              <a:effectLst/>
              <a:uLnTx/>
              <a:uFillTx/>
              <a:latin typeface="Calibri"/>
              <a:ea typeface="Calibri"/>
              <a:cs typeface="Calibri"/>
            </a:endParaRPr>
          </a:p>
        </p:txBody>
      </p:sp>
      <p:sp>
        <p:nvSpPr>
          <p:cNvPr id="3" name="AutoShape 2">
            <a:extLst>
              <a:ext uri="{FF2B5EF4-FFF2-40B4-BE49-F238E27FC236}">
                <a16:creationId xmlns:a16="http://schemas.microsoft.com/office/drawing/2014/main" id="{2F41EB15-D23E-6CBB-A078-7C0537A70419}"/>
              </a:ext>
            </a:extLst>
          </p:cNvPr>
          <p:cNvSpPr>
            <a:spLocks noChangeAspect="1" noChangeArrowheads="1"/>
          </p:cNvSpPr>
          <p:nvPr/>
        </p:nvSpPr>
        <p:spPr bwMode="auto">
          <a:xfrm>
            <a:off x="6876898" y="1510260"/>
            <a:ext cx="1291742" cy="129174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TextBox 4">
            <a:extLst>
              <a:ext uri="{FF2B5EF4-FFF2-40B4-BE49-F238E27FC236}">
                <a16:creationId xmlns:a16="http://schemas.microsoft.com/office/drawing/2014/main" id="{2B987378-EB02-258B-2E58-87607196CC9E}"/>
              </a:ext>
            </a:extLst>
          </p:cNvPr>
          <p:cNvSpPr txBox="1"/>
          <p:nvPr/>
        </p:nvSpPr>
        <p:spPr>
          <a:xfrm>
            <a:off x="7029298" y="2185190"/>
            <a:ext cx="1109272" cy="369332"/>
          </a:xfrm>
          <a:prstGeom prst="rect">
            <a:avLst/>
          </a:prstGeom>
          <a:noFill/>
        </p:spPr>
        <p:txBody>
          <a:bodyPr wrap="square" rtlCol="0">
            <a:spAutoFit/>
          </a:bodyPr>
          <a:lstStyle/>
          <a:p>
            <a:r>
              <a:rPr lang="en-US" dirty="0">
                <a:solidFill>
                  <a:schemeClr val="bg1"/>
                </a:solidFill>
              </a:rPr>
              <a:t>{{image}}</a:t>
            </a:r>
          </a:p>
        </p:txBody>
      </p:sp>
    </p:spTree>
    <p:extLst>
      <p:ext uri="{BB962C8B-B14F-4D97-AF65-F5344CB8AC3E}">
        <p14:creationId xmlns:p14="http://schemas.microsoft.com/office/powerpoint/2010/main" val="3972853654"/>
      </p:ext>
    </p:extLst>
  </p:cSld>
  <p:clrMapOvr>
    <a:masterClrMapping/>
  </p:clrMapOvr>
  <p:extLst>
    <p:ext uri="{6950BFC3-D8DA-4A85-94F7-54DA5524770B}">
      <p188:commentRel xmlns:p188="http://schemas.microsoft.com/office/powerpoint/2018/8/main" r:id="rId2"/>
    </p:ext>
  </p:extLst>
</p:sld>
</file>

<file path=ppt/slides/slide10.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Calibri"/>
                <a:ea typeface="Calibri"/>
                <a:cs typeface="Calibri"/>
              </a:rPr>
              <a:t>REGIONAL SERVICES (QATAR)</a:t>
            </a:r>
            <a:endParaRPr lang="en-US" sz="3600" b="1" i="0" u="none" strike="noStrike" kern="1200" cap="none" spc="32" normalizeH="0" baseline="0" noProof="0">
              <a:ln>
                <a:noFill/>
              </a:ln>
              <a:solidFill>
                <a:prstClr val="white"/>
              </a:solidFill>
              <a:effectLst/>
              <a:uLnTx/>
              <a:uFillTx/>
              <a:latin typeface="Calibri"/>
              <a:ea typeface="Calibri"/>
              <a:cs typeface="Calibri"/>
            </a:endParaRP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4" name="TextBox 10">
            <a:extLst>
              <a:ext uri="{FF2B5EF4-FFF2-40B4-BE49-F238E27FC236}">
                <a16:creationId xmlns:a16="http://schemas.microsoft.com/office/drawing/2014/main" id="{C725ECA1-D54E-5225-950A-6FE0EFE8AE47}"/>
              </a:ext>
            </a:extLst>
          </p:cNvPr>
          <p:cNvSpPr txBox="1"/>
          <p:nvPr/>
        </p:nvSpPr>
        <p:spPr>
          <a:xfrm>
            <a:off x="2087288" y="1612495"/>
            <a:ext cx="8438472" cy="1439833"/>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QCB (Qatar Central Bank)  CONSULTANCY</a:t>
            </a:r>
          </a:p>
        </p:txBody>
      </p:sp>
      <p:sp>
        <p:nvSpPr>
          <p:cNvPr id="15" name="TextBox 11">
            <a:extLst>
              <a:ext uri="{FF2B5EF4-FFF2-40B4-BE49-F238E27FC236}">
                <a16:creationId xmlns:a16="http://schemas.microsoft.com/office/drawing/2014/main" id="{F66EB04C-81AC-C6D3-8F9A-232FE92F9217}"/>
              </a:ext>
            </a:extLst>
          </p:cNvPr>
          <p:cNvSpPr txBox="1"/>
          <p:nvPr/>
        </p:nvSpPr>
        <p:spPr>
          <a:xfrm>
            <a:off x="2087288" y="2572038"/>
            <a:ext cx="8438472" cy="3523962"/>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The main purpose of the QCB cyber security circular is to provide guidance to bank users, employees, contractors and other authorized users, of their obligatory requirements for protecting the technology and information assets of the bank.</a:t>
            </a:r>
          </a:p>
          <a:p>
            <a:pPr marL="0" marR="0" lvl="0" indent="0" algn="l" defTabSz="857250" rtl="0" eaLnBrk="1" fontAlgn="auto" latinLnBrk="0" hangingPunct="1">
              <a:lnSpc>
                <a:spcPts val="1969"/>
              </a:lnSpc>
              <a:spcBef>
                <a:spcPts val="0"/>
              </a:spcBef>
              <a:spcAft>
                <a:spcPts val="0"/>
              </a:spcAft>
              <a:buClrTx/>
              <a:buSzTx/>
              <a:buFontTx/>
              <a:buNone/>
              <a:tabLst/>
              <a:defRPr/>
            </a:pPr>
            <a:endParaRPr kumimoji="0" lang="en-US" sz="1800" b="0" i="0" u="none" strike="noStrike" kern="1200" cap="none" spc="13" normalizeH="0" baseline="0" noProof="0">
              <a:ln>
                <a:noFill/>
              </a:ln>
              <a:solidFill>
                <a:srgbClr val="EDE6E2"/>
              </a:solidFill>
              <a:effectLst/>
              <a:uLnTx/>
              <a:uFillTx/>
              <a:latin typeface="Calibri"/>
              <a:ea typeface="+mn-ea"/>
              <a:cs typeface="Calibri"/>
            </a:endParaRPr>
          </a:p>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circular by QCB (Qatar Central Bank) and can make you ready for QCB CC circular Assessment and Compliance.</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spTree>
    <p:extLst>
      <p:ext uri="{BB962C8B-B14F-4D97-AF65-F5344CB8AC3E}">
        <p14:creationId xmlns:p14="http://schemas.microsoft.com/office/powerpoint/2010/main" val="21384669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 name="Rectangle 122">
            <a:extLst>
              <a:ext uri="{FF2B5EF4-FFF2-40B4-BE49-F238E27FC236}">
                <a16:creationId xmlns:a16="http://schemas.microsoft.com/office/drawing/2014/main" id="{84728BB7-D9CF-1D12-D377-6BA285EF82E5}"/>
              </a:ext>
            </a:extLst>
          </p:cNvPr>
          <p:cNvSpPr/>
          <p:nvPr/>
        </p:nvSpPr>
        <p:spPr>
          <a:xfrm>
            <a:off x="7643040" y="0"/>
            <a:ext cx="454896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8497423" y="2849883"/>
            <a:ext cx="2896660" cy="1346907"/>
          </a:xfrm>
          <a:prstGeom prst="rect">
            <a:avLst/>
          </a:prstGeom>
        </p:spPr>
        <p:txBody>
          <a:bodyPr wrap="square" lIns="0" tIns="0" rIns="0" bIns="0" rtlCol="0" anchor="t">
            <a:spAutoFit/>
          </a:bodyPr>
          <a:lstStyle/>
          <a:p>
            <a:pPr marL="0" marR="0" lvl="0" indent="0" algn="just"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ompliance services including but not limited to the mentioned standards and regulations</a:t>
            </a:r>
          </a:p>
          <a:p>
            <a:pPr marL="0" marR="0" lvl="0" indent="0" algn="just" defTabSz="857250" rtl="0" eaLnBrk="1" fontAlgn="auto" latinLnBrk="0" hangingPunct="1">
              <a:lnSpc>
                <a:spcPts val="2055"/>
              </a:lnSpc>
              <a:spcBef>
                <a:spcPts val="0"/>
              </a:spcBef>
              <a:spcAft>
                <a:spcPts val="0"/>
              </a:spcAft>
              <a:buClrTx/>
              <a:buSzTx/>
              <a:buFontTx/>
              <a:buNone/>
              <a:tabLst/>
              <a:defRPr/>
            </a:pPr>
            <a:endPar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grpSp>
        <p:nvGrpSpPr>
          <p:cNvPr id="132" name="Group 4">
            <a:extLst>
              <a:ext uri="{FF2B5EF4-FFF2-40B4-BE49-F238E27FC236}">
                <a16:creationId xmlns:a16="http://schemas.microsoft.com/office/drawing/2014/main" id="{74091E4B-BDC3-FA69-FCCD-921B22FEAF11}"/>
              </a:ext>
            </a:extLst>
          </p:cNvPr>
          <p:cNvGrpSpPr/>
          <p:nvPr/>
        </p:nvGrpSpPr>
        <p:grpSpPr>
          <a:xfrm>
            <a:off x="8524398" y="1720286"/>
            <a:ext cx="4379659" cy="880033"/>
            <a:chOff x="0" y="85725"/>
            <a:chExt cx="6228847"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6228847" cy="832229"/>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PLIANCE</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8" name="Freeform 12">
            <a:extLst>
              <a:ext uri="{FF2B5EF4-FFF2-40B4-BE49-F238E27FC236}">
                <a16:creationId xmlns:a16="http://schemas.microsoft.com/office/drawing/2014/main" id="{4B29282A-2E26-8DF6-55EF-4EA06E94EC8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3" name="Picture 2">
            <a:extLst>
              <a:ext uri="{FF2B5EF4-FFF2-40B4-BE49-F238E27FC236}">
                <a16:creationId xmlns:a16="http://schemas.microsoft.com/office/drawing/2014/main" id="{18ED7D50-5D3F-E146-C959-5DF43EC63225}"/>
              </a:ext>
            </a:extLst>
          </p:cNvPr>
          <p:cNvPicPr>
            <a:picLocks noChangeAspect="1"/>
          </p:cNvPicPr>
          <p:nvPr/>
        </p:nvPicPr>
        <p:blipFill rotWithShape="1">
          <a:blip r:embed="rId2" cstate="print">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513138" y="2389881"/>
            <a:ext cx="4500465" cy="1031356"/>
          </a:xfrm>
          <a:prstGeom prst="rect">
            <a:avLst/>
          </a:prstGeom>
        </p:spPr>
      </p:pic>
      <p:pic>
        <p:nvPicPr>
          <p:cNvPr id="4" name="Picture 3">
            <a:extLst>
              <a:ext uri="{FF2B5EF4-FFF2-40B4-BE49-F238E27FC236}">
                <a16:creationId xmlns:a16="http://schemas.microsoft.com/office/drawing/2014/main" id="{A23A3D7C-9BAB-977F-6200-5F71477C294E}"/>
              </a:ext>
            </a:extLst>
          </p:cNvPr>
          <p:cNvPicPr>
            <a:picLocks noChangeAspect="1"/>
          </p:cNvPicPr>
          <p:nvPr/>
        </p:nvPicPr>
        <p:blipFill>
          <a:blip r:embed="rId4" cstate="print">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324561" y="2624081"/>
            <a:ext cx="2048509" cy="918061"/>
          </a:xfrm>
          <a:prstGeom prst="rect">
            <a:avLst/>
          </a:prstGeom>
        </p:spPr>
      </p:pic>
      <p:grpSp>
        <p:nvGrpSpPr>
          <p:cNvPr id="5" name="Group 4">
            <a:extLst>
              <a:ext uri="{FF2B5EF4-FFF2-40B4-BE49-F238E27FC236}">
                <a16:creationId xmlns:a16="http://schemas.microsoft.com/office/drawing/2014/main" id="{95D73A32-1B68-65B0-994B-643BE1F211AE}"/>
              </a:ext>
            </a:extLst>
          </p:cNvPr>
          <p:cNvGrpSpPr/>
          <p:nvPr/>
        </p:nvGrpSpPr>
        <p:grpSpPr>
          <a:xfrm>
            <a:off x="663289" y="318352"/>
            <a:ext cx="3119077" cy="1027944"/>
            <a:chOff x="751593" y="5060803"/>
            <a:chExt cx="3608982" cy="1034621"/>
          </a:xfrm>
        </p:grpSpPr>
        <p:pic>
          <p:nvPicPr>
            <p:cNvPr id="6" name="Picture 5">
              <a:extLst>
                <a:ext uri="{FF2B5EF4-FFF2-40B4-BE49-F238E27FC236}">
                  <a16:creationId xmlns:a16="http://schemas.microsoft.com/office/drawing/2014/main" id="{3FAC39AA-67F7-187C-8209-7BFAFF8E2E41}"/>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751593" y="5060803"/>
              <a:ext cx="1839207" cy="990024"/>
            </a:xfrm>
            <a:prstGeom prst="rect">
              <a:avLst/>
            </a:prstGeom>
          </p:spPr>
        </p:pic>
        <p:pic>
          <p:nvPicPr>
            <p:cNvPr id="7" name="Picture 6">
              <a:extLst>
                <a:ext uri="{FF2B5EF4-FFF2-40B4-BE49-F238E27FC236}">
                  <a16:creationId xmlns:a16="http://schemas.microsoft.com/office/drawing/2014/main" id="{84402343-6748-94E2-BBFE-D4DCA3FF7D7A}"/>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2967143" y="5105400"/>
              <a:ext cx="1393432" cy="990024"/>
            </a:xfrm>
            <a:prstGeom prst="rect">
              <a:avLst/>
            </a:prstGeom>
          </p:spPr>
        </p:pic>
      </p:grpSp>
      <p:grpSp>
        <p:nvGrpSpPr>
          <p:cNvPr id="10" name="Group 9">
            <a:extLst>
              <a:ext uri="{FF2B5EF4-FFF2-40B4-BE49-F238E27FC236}">
                <a16:creationId xmlns:a16="http://schemas.microsoft.com/office/drawing/2014/main" id="{9F742E87-69DB-9A2A-B094-4FDC7A203E3E}"/>
              </a:ext>
            </a:extLst>
          </p:cNvPr>
          <p:cNvGrpSpPr/>
          <p:nvPr/>
        </p:nvGrpSpPr>
        <p:grpSpPr>
          <a:xfrm>
            <a:off x="743025" y="4460329"/>
            <a:ext cx="4788419" cy="724906"/>
            <a:chOff x="2008331" y="1679887"/>
            <a:chExt cx="4788419" cy="724906"/>
          </a:xfrm>
        </p:grpSpPr>
        <p:pic>
          <p:nvPicPr>
            <p:cNvPr id="11" name="Picture 10">
              <a:extLst>
                <a:ext uri="{FF2B5EF4-FFF2-40B4-BE49-F238E27FC236}">
                  <a16:creationId xmlns:a16="http://schemas.microsoft.com/office/drawing/2014/main" id="{46AD5AD4-B977-01D7-5424-60CF99ACC5F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008331" y="1679887"/>
              <a:ext cx="2315022" cy="724906"/>
            </a:xfrm>
            <a:prstGeom prst="rect">
              <a:avLst/>
            </a:prstGeom>
          </p:spPr>
        </p:pic>
        <p:sp>
          <p:nvSpPr>
            <p:cNvPr id="12" name="TextBox 11">
              <a:extLst>
                <a:ext uri="{FF2B5EF4-FFF2-40B4-BE49-F238E27FC236}">
                  <a16:creationId xmlns:a16="http://schemas.microsoft.com/office/drawing/2014/main" id="{95D37F8F-77C7-06B4-24B8-64415BE51951}"/>
                </a:ext>
              </a:extLst>
            </p:cNvPr>
            <p:cNvSpPr txBox="1"/>
            <p:nvPr/>
          </p:nvSpPr>
          <p:spPr>
            <a:xfrm>
              <a:off x="4361158" y="1785368"/>
              <a:ext cx="243559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rPr>
                <a:t>National Information Assurance Standard (NIAS)</a:t>
              </a:r>
              <a:endParaRPr kumimoji="0" lang="en-US"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endParaRPr>
            </a:p>
          </p:txBody>
        </p:sp>
      </p:grpSp>
      <p:grpSp>
        <p:nvGrpSpPr>
          <p:cNvPr id="16" name="Group 15">
            <a:extLst>
              <a:ext uri="{FF2B5EF4-FFF2-40B4-BE49-F238E27FC236}">
                <a16:creationId xmlns:a16="http://schemas.microsoft.com/office/drawing/2014/main" id="{941988C2-BADB-C88F-E953-3611C2922857}"/>
              </a:ext>
            </a:extLst>
          </p:cNvPr>
          <p:cNvGrpSpPr/>
          <p:nvPr/>
        </p:nvGrpSpPr>
        <p:grpSpPr>
          <a:xfrm>
            <a:off x="587137" y="5164206"/>
            <a:ext cx="2915181" cy="1048856"/>
            <a:chOff x="2957256" y="5656745"/>
            <a:chExt cx="2915181" cy="1048856"/>
          </a:xfrm>
        </p:grpSpPr>
        <p:pic>
          <p:nvPicPr>
            <p:cNvPr id="17" name="Picture 16">
              <a:extLst>
                <a:ext uri="{FF2B5EF4-FFF2-40B4-BE49-F238E27FC236}">
                  <a16:creationId xmlns:a16="http://schemas.microsoft.com/office/drawing/2014/main" id="{6DD85A40-9CCE-52A4-8530-9E934B950FDD}"/>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2957256" y="5656745"/>
              <a:ext cx="1085756" cy="1048856"/>
            </a:xfrm>
            <a:prstGeom prst="rect">
              <a:avLst/>
            </a:prstGeom>
          </p:spPr>
        </p:pic>
        <p:sp>
          <p:nvSpPr>
            <p:cNvPr id="18" name="TextBox 17">
              <a:extLst>
                <a:ext uri="{FF2B5EF4-FFF2-40B4-BE49-F238E27FC236}">
                  <a16:creationId xmlns:a16="http://schemas.microsoft.com/office/drawing/2014/main" id="{A6D30F0C-A82C-BBB1-0F2F-27915841A6C5}"/>
                </a:ext>
              </a:extLst>
            </p:cNvPr>
            <p:cNvSpPr txBox="1"/>
            <p:nvPr/>
          </p:nvSpPr>
          <p:spPr>
            <a:xfrm>
              <a:off x="4065674" y="5826673"/>
              <a:ext cx="1806763"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03D43"/>
                  </a:solidFill>
                  <a:effectLst/>
                  <a:uLnTx/>
                  <a:uFillTx/>
                  <a:latin typeface="Calibri" panose="020F0502020204030204" pitchFamily="34" charset="0"/>
                  <a:ea typeface="+mn-ea"/>
                  <a:cs typeface="Calibri" panose="020F0502020204030204" pitchFamily="34" charset="0"/>
                </a:rPr>
                <a:t>Abu Dhabi Healthcare Information and Cyber Security</a:t>
              </a:r>
            </a:p>
          </p:txBody>
        </p:sp>
      </p:grpSp>
      <p:grpSp>
        <p:nvGrpSpPr>
          <p:cNvPr id="19" name="Group 18">
            <a:extLst>
              <a:ext uri="{FF2B5EF4-FFF2-40B4-BE49-F238E27FC236}">
                <a16:creationId xmlns:a16="http://schemas.microsoft.com/office/drawing/2014/main" id="{C663D465-B0D0-80C7-3C9F-69ABA4E7E5D0}"/>
              </a:ext>
            </a:extLst>
          </p:cNvPr>
          <p:cNvGrpSpPr/>
          <p:nvPr/>
        </p:nvGrpSpPr>
        <p:grpSpPr>
          <a:xfrm>
            <a:off x="4119102" y="333247"/>
            <a:ext cx="2777316" cy="889074"/>
            <a:chOff x="4080684" y="3485687"/>
            <a:chExt cx="2777316" cy="889074"/>
          </a:xfrm>
        </p:grpSpPr>
        <p:sp>
          <p:nvSpPr>
            <p:cNvPr id="20" name="TextBox 19">
              <a:extLst>
                <a:ext uri="{FF2B5EF4-FFF2-40B4-BE49-F238E27FC236}">
                  <a16:creationId xmlns:a16="http://schemas.microsoft.com/office/drawing/2014/main" id="{C8913A12-4136-91AB-2DBC-AB672685B87C}"/>
                </a:ext>
              </a:extLst>
            </p:cNvPr>
            <p:cNvSpPr txBox="1"/>
            <p:nvPr/>
          </p:nvSpPr>
          <p:spPr>
            <a:xfrm>
              <a:off x="4930856" y="3705917"/>
              <a:ext cx="192714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rPr>
                <a:t>INFORMATION SECURITY RESOLUTION</a:t>
              </a:r>
              <a:endParaRPr kumimoji="0" lang="en-US" sz="1800" b="0"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endParaRPr>
            </a:p>
          </p:txBody>
        </p:sp>
        <p:pic>
          <p:nvPicPr>
            <p:cNvPr id="21" name="Picture 20">
              <a:extLst>
                <a:ext uri="{FF2B5EF4-FFF2-40B4-BE49-F238E27FC236}">
                  <a16:creationId xmlns:a16="http://schemas.microsoft.com/office/drawing/2014/main" id="{8302186B-A18E-320D-3540-60502C2B64FF}"/>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4080684" y="3485687"/>
              <a:ext cx="911870" cy="889074"/>
            </a:xfrm>
            <a:prstGeom prst="rect">
              <a:avLst/>
            </a:prstGeom>
          </p:spPr>
        </p:pic>
      </p:grpSp>
      <p:pic>
        <p:nvPicPr>
          <p:cNvPr id="22" name="Picture 21">
            <a:extLst>
              <a:ext uri="{FF2B5EF4-FFF2-40B4-BE49-F238E27FC236}">
                <a16:creationId xmlns:a16="http://schemas.microsoft.com/office/drawing/2014/main" id="{785D8D8D-223C-01C1-19C8-BDE1960123AD}"/>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350125" y="3806177"/>
            <a:ext cx="1903236" cy="1060658"/>
          </a:xfrm>
          <a:prstGeom prst="rect">
            <a:avLst/>
          </a:prstGeom>
        </p:spPr>
      </p:pic>
      <p:pic>
        <p:nvPicPr>
          <p:cNvPr id="23" name="Picture 22">
            <a:extLst>
              <a:ext uri="{FF2B5EF4-FFF2-40B4-BE49-F238E27FC236}">
                <a16:creationId xmlns:a16="http://schemas.microsoft.com/office/drawing/2014/main" id="{E314CE05-2ED3-6771-0486-87A0315A5D7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101769" y="1543508"/>
            <a:ext cx="1995993" cy="779027"/>
          </a:xfrm>
          <a:prstGeom prst="rect">
            <a:avLst/>
          </a:prstGeom>
        </p:spPr>
      </p:pic>
      <p:grpSp>
        <p:nvGrpSpPr>
          <p:cNvPr id="29" name="Group 28">
            <a:extLst>
              <a:ext uri="{FF2B5EF4-FFF2-40B4-BE49-F238E27FC236}">
                <a16:creationId xmlns:a16="http://schemas.microsoft.com/office/drawing/2014/main" id="{88086D96-26DA-FC80-3558-313B65B5C760}"/>
              </a:ext>
            </a:extLst>
          </p:cNvPr>
          <p:cNvGrpSpPr/>
          <p:nvPr/>
        </p:nvGrpSpPr>
        <p:grpSpPr>
          <a:xfrm>
            <a:off x="3907966" y="5381860"/>
            <a:ext cx="3590552" cy="831202"/>
            <a:chOff x="3944065" y="511763"/>
            <a:chExt cx="3590552" cy="831202"/>
          </a:xfrm>
        </p:grpSpPr>
        <p:pic>
          <p:nvPicPr>
            <p:cNvPr id="27" name="Picture 26">
              <a:extLst>
                <a:ext uri="{FF2B5EF4-FFF2-40B4-BE49-F238E27FC236}">
                  <a16:creationId xmlns:a16="http://schemas.microsoft.com/office/drawing/2014/main" id="{8F74C4DC-75AA-E5EF-8325-CEC17B958E5A}"/>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944065" y="511763"/>
              <a:ext cx="831202" cy="831202"/>
            </a:xfrm>
            <a:prstGeom prst="rect">
              <a:avLst/>
            </a:prstGeom>
          </p:spPr>
        </p:pic>
        <p:sp>
          <p:nvSpPr>
            <p:cNvPr id="28" name="TextBox 27">
              <a:extLst>
                <a:ext uri="{FF2B5EF4-FFF2-40B4-BE49-F238E27FC236}">
                  <a16:creationId xmlns:a16="http://schemas.microsoft.com/office/drawing/2014/main" id="{733C3C48-5C66-052B-2737-B041A6F88221}"/>
                </a:ext>
              </a:extLst>
            </p:cNvPr>
            <p:cNvSpPr txBox="1"/>
            <p:nvPr/>
          </p:nvSpPr>
          <p:spPr>
            <a:xfrm>
              <a:off x="4804242" y="555567"/>
              <a:ext cx="2730375"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236"/>
                  </a:solidFill>
                  <a:effectLst/>
                  <a:uLnTx/>
                  <a:uFillTx/>
                  <a:latin typeface="Calibri" panose="020F0502020204030204" pitchFamily="34" charset="0"/>
                  <a:ea typeface="+mn-ea"/>
                  <a:cs typeface="Calibri" panose="020F0502020204030204" pitchFamily="34" charset="0"/>
                </a:rPr>
                <a:t>Enterprise Technology Governance &amp; Risk Management Framework</a:t>
              </a:r>
            </a:p>
          </p:txBody>
        </p:sp>
      </p:grpSp>
      <p:sp>
        <p:nvSpPr>
          <p:cNvPr id="2" name="Slide Number Placeholder 4">
            <a:extLst>
              <a:ext uri="{FF2B5EF4-FFF2-40B4-BE49-F238E27FC236}">
                <a16:creationId xmlns:a16="http://schemas.microsoft.com/office/drawing/2014/main" id="{0C77B820-9724-946E-D1C0-2A6A655E25EB}"/>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9" name="Picture 8" descr="Logo, company name&#10;&#10;Description automatically generated">
            <a:extLst>
              <a:ext uri="{FF2B5EF4-FFF2-40B4-BE49-F238E27FC236}">
                <a16:creationId xmlns:a16="http://schemas.microsoft.com/office/drawing/2014/main" id="{675DF818-BD98-D33A-1C67-0C73829F7A95}"/>
              </a:ext>
            </a:extLst>
          </p:cNvPr>
          <p:cNvPicPr>
            <a:picLocks noChangeAspect="1"/>
          </p:cNvPicPr>
          <p:nvPr/>
        </p:nvPicPr>
        <p:blipFill>
          <a:blip r:embed="rId14">
            <a:extLst>
              <a:ext uri="{BEBA8EAE-BF5A-486C-A8C5-ECC9F3942E4B}">
                <a14:imgProps xmlns:a14="http://schemas.microsoft.com/office/drawing/2010/main">
                  <a14:imgLayer r:embed="rId1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2688010" y="1501332"/>
            <a:ext cx="2050330" cy="1025165"/>
          </a:xfrm>
          <a:prstGeom prst="rect">
            <a:avLst/>
          </a:prstGeom>
        </p:spPr>
      </p:pic>
      <p:pic>
        <p:nvPicPr>
          <p:cNvPr id="25" name="Picture 24" descr="A picture containing shape&#10;&#10;Description automatically generated">
            <a:extLst>
              <a:ext uri="{FF2B5EF4-FFF2-40B4-BE49-F238E27FC236}">
                <a16:creationId xmlns:a16="http://schemas.microsoft.com/office/drawing/2014/main" id="{75B75D63-5DB4-651A-E9A5-ECD3F662E99E}"/>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663289" y="1693793"/>
            <a:ext cx="1849480" cy="641153"/>
          </a:xfrm>
          <a:prstGeom prst="rect">
            <a:avLst/>
          </a:prstGeom>
        </p:spPr>
      </p:pic>
      <p:grpSp>
        <p:nvGrpSpPr>
          <p:cNvPr id="13" name="Group 12">
            <a:extLst>
              <a:ext uri="{FF2B5EF4-FFF2-40B4-BE49-F238E27FC236}">
                <a16:creationId xmlns:a16="http://schemas.microsoft.com/office/drawing/2014/main" id="{1EC7EEAB-BA2B-EA26-8E22-64FF1BAB4C42}"/>
              </a:ext>
            </a:extLst>
          </p:cNvPr>
          <p:cNvGrpSpPr/>
          <p:nvPr/>
        </p:nvGrpSpPr>
        <p:grpSpPr>
          <a:xfrm>
            <a:off x="575758" y="3474917"/>
            <a:ext cx="4910702" cy="886634"/>
            <a:chOff x="774453" y="2604493"/>
            <a:chExt cx="4292622" cy="721942"/>
          </a:xfrm>
        </p:grpSpPr>
        <p:pic>
          <p:nvPicPr>
            <p:cNvPr id="14" name="Picture 13">
              <a:extLst>
                <a:ext uri="{FF2B5EF4-FFF2-40B4-BE49-F238E27FC236}">
                  <a16:creationId xmlns:a16="http://schemas.microsoft.com/office/drawing/2014/main" id="{6880D972-7276-558C-4A3F-FDF493D9586E}"/>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774453" y="2604493"/>
              <a:ext cx="3005902" cy="721942"/>
            </a:xfrm>
            <a:prstGeom prst="rect">
              <a:avLst/>
            </a:prstGeom>
          </p:spPr>
        </p:pic>
        <p:sp>
          <p:nvSpPr>
            <p:cNvPr id="15" name="TextBox 14">
              <a:extLst>
                <a:ext uri="{FF2B5EF4-FFF2-40B4-BE49-F238E27FC236}">
                  <a16:creationId xmlns:a16="http://schemas.microsoft.com/office/drawing/2014/main" id="{069CB539-EC8E-AD8C-C7C8-24F3EAFC99C2}"/>
                </a:ext>
              </a:extLst>
            </p:cNvPr>
            <p:cNvSpPr txBox="1"/>
            <p:nvPr/>
          </p:nvSpPr>
          <p:spPr>
            <a:xfrm>
              <a:off x="3579630" y="2718841"/>
              <a:ext cx="1487445" cy="4260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Cyber Secur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Framework</a:t>
              </a:r>
            </a:p>
          </p:txBody>
        </p:sp>
      </p:grpSp>
    </p:spTree>
    <p:extLst>
      <p:ext uri="{BB962C8B-B14F-4D97-AF65-F5344CB8AC3E}">
        <p14:creationId xmlns:p14="http://schemas.microsoft.com/office/powerpoint/2010/main" val="16095009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10" name="Picture 9" descr="A close-up of hands shaking&#10;&#10;Description automatically generated with medium confidence">
            <a:extLst>
              <a:ext uri="{FF2B5EF4-FFF2-40B4-BE49-F238E27FC236}">
                <a16:creationId xmlns:a16="http://schemas.microsoft.com/office/drawing/2014/main" id="{0E714B9E-FABD-60CF-1A2F-272DF7A605CA}"/>
              </a:ext>
            </a:extLst>
          </p:cNvPr>
          <p:cNvPicPr>
            <a:picLocks noChangeAspect="1"/>
          </p:cNvPicPr>
          <p:nvPr/>
        </p:nvPicPr>
        <p:blipFill rotWithShape="1">
          <a:blip r:embed="rId3">
            <a:extLst>
              <a:ext uri="{28A0092B-C50C-407E-A947-70E740481C1C}">
                <a14:useLocalDpi xmlns:a14="http://schemas.microsoft.com/office/drawing/2010/main" val="0"/>
              </a:ext>
            </a:extLst>
          </a:blip>
          <a:srcRect b="22005"/>
          <a:stretch/>
        </p:blipFill>
        <p:spPr>
          <a:xfrm>
            <a:off x="0" y="-15830"/>
            <a:ext cx="12192000" cy="3444829"/>
          </a:xfrm>
          <a:prstGeom prst="rect">
            <a:avLst/>
          </a:prstGeom>
        </p:spPr>
      </p:pic>
      <p:grpSp>
        <p:nvGrpSpPr>
          <p:cNvPr id="4" name="Group 4"/>
          <p:cNvGrpSpPr/>
          <p:nvPr/>
        </p:nvGrpSpPr>
        <p:grpSpPr>
          <a:xfrm>
            <a:off x="599425" y="4016158"/>
            <a:ext cx="10818253" cy="2001132"/>
            <a:chOff x="0" y="85725"/>
            <a:chExt cx="11531402" cy="2846054"/>
          </a:xfrm>
        </p:grpSpPr>
        <p:sp>
          <p:nvSpPr>
            <p:cNvPr id="5" name="TextBox 5"/>
            <p:cNvSpPr txBox="1"/>
            <p:nvPr/>
          </p:nvSpPr>
          <p:spPr>
            <a:xfrm>
              <a:off x="2904" y="85725"/>
              <a:ext cx="11525594"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prstClr val="white"/>
                  </a:solidFill>
                  <a:effectLst/>
                  <a:uLnTx/>
                  <a:uFillTx/>
                  <a:latin typeface="+mj-lt"/>
                  <a:ea typeface="+mn-ea"/>
                  <a:cs typeface="Calibri" panose="020F0502020204030204" pitchFamily="34" charset="0"/>
                </a:rPr>
                <a:t>OUR CLIENTS</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7" name="TextBox 7"/>
            <p:cNvSpPr txBox="1"/>
            <p:nvPr/>
          </p:nvSpPr>
          <p:spPr>
            <a:xfrm>
              <a:off x="0" y="2503171"/>
              <a:ext cx="11528498" cy="428608"/>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endPar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sp>
          <p:nvSpPr>
            <p:cNvPr id="8" name="AutoShape 8"/>
            <p:cNvSpPr/>
            <p:nvPr/>
          </p:nvSpPr>
          <p:spPr>
            <a:xfrm>
              <a:off x="0" y="1241125"/>
              <a:ext cx="677333" cy="149013"/>
            </a:xfrm>
            <a:prstGeom prst="rect">
              <a:avLst/>
            </a:prstGeom>
            <a:solidFill>
              <a:srgbClr val="CCB76A"/>
            </a:solidFill>
          </p:spPr>
          <p:txBody>
            <a:bodyPr/>
            <a:lstStyle/>
            <a:p>
              <a:endParaRPr lang="en-US"/>
            </a:p>
          </p:txBody>
        </p:sp>
      </p:grpSp>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82287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extLst>
              <a:ext uri="{BEBA8EAE-BF5A-486C-A8C5-ECC9F3942E4B}">
                <a14:imgProps xmlns:a14="http://schemas.microsoft.com/office/drawing/2010/main">
                  <a14:imgLayer r:embed="rId4">
                    <a14:imgEffect>
                      <a14:colorTemperature colorTemp="9818"/>
                    </a14:imgEffect>
                  </a14:imgLayer>
                </a14:imgProps>
              </a:ex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B85FD9C-7CC8-F827-0BF0-B0C13BE2C293}"/>
              </a:ext>
            </a:extLst>
          </p:cNvPr>
          <p:cNvSpPr/>
          <p:nvPr/>
        </p:nvSpPr>
        <p:spPr>
          <a:xfrm>
            <a:off x="0" y="0"/>
            <a:ext cx="12191999" cy="6858000"/>
          </a:xfrm>
          <a:prstGeom prst="rect">
            <a:avLst/>
          </a:prstGeom>
          <a:solidFill>
            <a:schemeClr val="tx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8" name="TextBox 8"/>
          <p:cNvSpPr txBox="1"/>
          <p:nvPr/>
        </p:nvSpPr>
        <p:spPr>
          <a:xfrm>
            <a:off x="2057201" y="645620"/>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4000" b="1" i="0" u="none" strike="noStrike" kern="1200" cap="none" spc="32"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CLIENT INDUSTRIES</a:t>
            </a:r>
          </a:p>
        </p:txBody>
      </p:sp>
      <p:grpSp>
        <p:nvGrpSpPr>
          <p:cNvPr id="23" name="Group 22">
            <a:extLst>
              <a:ext uri="{FF2B5EF4-FFF2-40B4-BE49-F238E27FC236}">
                <a16:creationId xmlns:a16="http://schemas.microsoft.com/office/drawing/2014/main" id="{32FE489C-CFE2-4AC9-B302-5104F5CC4F1F}"/>
              </a:ext>
            </a:extLst>
          </p:cNvPr>
          <p:cNvGrpSpPr/>
          <p:nvPr/>
        </p:nvGrpSpPr>
        <p:grpSpPr>
          <a:xfrm>
            <a:off x="4497732" y="1333521"/>
            <a:ext cx="3215705" cy="2195035"/>
            <a:chOff x="6923911" y="2913197"/>
            <a:chExt cx="2069747" cy="3602523"/>
          </a:xfrm>
        </p:grpSpPr>
        <p:sp>
          <p:nvSpPr>
            <p:cNvPr id="24" name="AutoShape 7">
              <a:extLst>
                <a:ext uri="{FF2B5EF4-FFF2-40B4-BE49-F238E27FC236}">
                  <a16:creationId xmlns:a16="http://schemas.microsoft.com/office/drawing/2014/main" id="{311CE4F9-E30E-4891-A1A2-3EC34FD90452}"/>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25" name="Group 18">
              <a:extLst>
                <a:ext uri="{FF2B5EF4-FFF2-40B4-BE49-F238E27FC236}">
                  <a16:creationId xmlns:a16="http://schemas.microsoft.com/office/drawing/2014/main" id="{50741180-B9C3-4EBD-B56A-ED214674A267}"/>
                </a:ext>
              </a:extLst>
            </p:cNvPr>
            <p:cNvGrpSpPr/>
            <p:nvPr/>
          </p:nvGrpSpPr>
          <p:grpSpPr>
            <a:xfrm>
              <a:off x="6994069" y="3411294"/>
              <a:ext cx="1923980" cy="2257657"/>
              <a:chOff x="-100812" y="-375718"/>
              <a:chExt cx="2565307" cy="3010207"/>
            </a:xfrm>
          </p:grpSpPr>
          <p:sp>
            <p:nvSpPr>
              <p:cNvPr id="26" name="TextBox 19">
                <a:extLst>
                  <a:ext uri="{FF2B5EF4-FFF2-40B4-BE49-F238E27FC236}">
                    <a16:creationId xmlns:a16="http://schemas.microsoft.com/office/drawing/2014/main" id="{5ED3CC8C-EF88-4907-B267-86D1E68603A1}"/>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INANCIAL SECTOR</a:t>
                </a:r>
              </a:p>
            </p:txBody>
          </p:sp>
          <p:sp>
            <p:nvSpPr>
              <p:cNvPr id="27" name="TextBox 20">
                <a:extLst>
                  <a:ext uri="{FF2B5EF4-FFF2-40B4-BE49-F238E27FC236}">
                    <a16:creationId xmlns:a16="http://schemas.microsoft.com/office/drawing/2014/main" id="{F66D3B7B-018B-4BB1-ACB2-84490AFA26CE}"/>
                  </a:ext>
                </a:extLst>
              </p:cNvPr>
              <p:cNvSpPr txBox="1"/>
              <p:nvPr/>
            </p:nvSpPr>
            <p:spPr>
              <a:xfrm>
                <a:off x="-100812" y="54224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Bank and insurance companies have benefitted from our compliance and security services</a:t>
                </a:r>
              </a:p>
            </p:txBody>
          </p:sp>
        </p:grpSp>
      </p:grpSp>
      <p:grpSp>
        <p:nvGrpSpPr>
          <p:cNvPr id="28" name="Group 27">
            <a:extLst>
              <a:ext uri="{FF2B5EF4-FFF2-40B4-BE49-F238E27FC236}">
                <a16:creationId xmlns:a16="http://schemas.microsoft.com/office/drawing/2014/main" id="{EE86C1A3-C601-4067-B7B6-2910DABE126F}"/>
              </a:ext>
            </a:extLst>
          </p:cNvPr>
          <p:cNvGrpSpPr/>
          <p:nvPr/>
        </p:nvGrpSpPr>
        <p:grpSpPr>
          <a:xfrm>
            <a:off x="4493496" y="4014482"/>
            <a:ext cx="3215705" cy="2195035"/>
            <a:chOff x="6923911" y="2913197"/>
            <a:chExt cx="2069747" cy="3602523"/>
          </a:xfrm>
        </p:grpSpPr>
        <p:sp>
          <p:nvSpPr>
            <p:cNvPr id="29" name="AutoShape 7">
              <a:extLst>
                <a:ext uri="{FF2B5EF4-FFF2-40B4-BE49-F238E27FC236}">
                  <a16:creationId xmlns:a16="http://schemas.microsoft.com/office/drawing/2014/main" id="{032BF9D2-F78A-4B1C-A985-32167A37262A}"/>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0" name="Group 18">
              <a:extLst>
                <a:ext uri="{FF2B5EF4-FFF2-40B4-BE49-F238E27FC236}">
                  <a16:creationId xmlns:a16="http://schemas.microsoft.com/office/drawing/2014/main" id="{262B472F-6824-4B3A-B860-55E4F6C3F362}"/>
                </a:ext>
              </a:extLst>
            </p:cNvPr>
            <p:cNvGrpSpPr/>
            <p:nvPr/>
          </p:nvGrpSpPr>
          <p:grpSpPr>
            <a:xfrm>
              <a:off x="7069678" y="3340388"/>
              <a:ext cx="1778213" cy="2400489"/>
              <a:chOff x="0" y="-470259"/>
              <a:chExt cx="2370951" cy="3200650"/>
            </a:xfrm>
          </p:grpSpPr>
          <p:sp>
            <p:nvSpPr>
              <p:cNvPr id="31" name="TextBox 19">
                <a:extLst>
                  <a:ext uri="{FF2B5EF4-FFF2-40B4-BE49-F238E27FC236}">
                    <a16:creationId xmlns:a16="http://schemas.microsoft.com/office/drawing/2014/main" id="{139DFC8A-2171-4E3D-9CCB-EBC022A9BA08}"/>
                  </a:ext>
                </a:extLst>
              </p:cNvPr>
              <p:cNvSpPr txBox="1"/>
              <p:nvPr/>
            </p:nvSpPr>
            <p:spPr>
              <a:xfrm>
                <a:off x="0" y="-470259"/>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OVERNMENT</a:t>
                </a:r>
              </a:p>
            </p:txBody>
          </p:sp>
          <p:sp>
            <p:nvSpPr>
              <p:cNvPr id="32" name="TextBox 20">
                <a:extLst>
                  <a:ext uri="{FF2B5EF4-FFF2-40B4-BE49-F238E27FC236}">
                    <a16:creationId xmlns:a16="http://schemas.microsoft.com/office/drawing/2014/main" id="{EFFA9C1F-B299-474E-8A63-E770B961CD41}"/>
                  </a:ext>
                </a:extLst>
              </p:cNvPr>
              <p:cNvSpPr txBox="1"/>
              <p:nvPr/>
            </p:nvSpPr>
            <p:spPr>
              <a:xfrm>
                <a:off x="0" y="638150"/>
                <a:ext cx="2370951" cy="2092241"/>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served the unique cyber security needs of government sector in multiple countries</a:t>
                </a:r>
              </a:p>
            </p:txBody>
          </p:sp>
        </p:grpSp>
      </p:grpSp>
      <p:grpSp>
        <p:nvGrpSpPr>
          <p:cNvPr id="33" name="Group 32">
            <a:extLst>
              <a:ext uri="{FF2B5EF4-FFF2-40B4-BE49-F238E27FC236}">
                <a16:creationId xmlns:a16="http://schemas.microsoft.com/office/drawing/2014/main" id="{EBD64617-770D-4D30-B47A-896B12CC8CEF}"/>
              </a:ext>
            </a:extLst>
          </p:cNvPr>
          <p:cNvGrpSpPr/>
          <p:nvPr/>
        </p:nvGrpSpPr>
        <p:grpSpPr>
          <a:xfrm>
            <a:off x="8035782" y="1328639"/>
            <a:ext cx="3156063" cy="2195035"/>
            <a:chOff x="6923911" y="2913197"/>
            <a:chExt cx="2069747" cy="3602523"/>
          </a:xfrm>
        </p:grpSpPr>
        <p:sp>
          <p:nvSpPr>
            <p:cNvPr id="34" name="AutoShape 7">
              <a:extLst>
                <a:ext uri="{FF2B5EF4-FFF2-40B4-BE49-F238E27FC236}">
                  <a16:creationId xmlns:a16="http://schemas.microsoft.com/office/drawing/2014/main" id="{A63908C0-6C23-4588-890F-91A1015626BB}"/>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5" name="Group 18">
              <a:extLst>
                <a:ext uri="{FF2B5EF4-FFF2-40B4-BE49-F238E27FC236}">
                  <a16:creationId xmlns:a16="http://schemas.microsoft.com/office/drawing/2014/main" id="{4DFE3D40-A0F0-4D40-BA3D-5710D0549C81}"/>
                </a:ext>
              </a:extLst>
            </p:cNvPr>
            <p:cNvGrpSpPr/>
            <p:nvPr/>
          </p:nvGrpSpPr>
          <p:grpSpPr>
            <a:xfrm>
              <a:off x="7069678" y="3411294"/>
              <a:ext cx="1778213" cy="2329584"/>
              <a:chOff x="0" y="-375718"/>
              <a:chExt cx="2370951" cy="3106110"/>
            </a:xfrm>
          </p:grpSpPr>
          <p:sp>
            <p:nvSpPr>
              <p:cNvPr id="36" name="TextBox 19">
                <a:extLst>
                  <a:ext uri="{FF2B5EF4-FFF2-40B4-BE49-F238E27FC236}">
                    <a16:creationId xmlns:a16="http://schemas.microsoft.com/office/drawing/2014/main" id="{403025D8-9A1C-4A6F-9A57-85ED3D6FC54B}"/>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OIL &amp; GAS</a:t>
                </a:r>
              </a:p>
            </p:txBody>
          </p:sp>
          <p:sp>
            <p:nvSpPr>
              <p:cNvPr id="37" name="TextBox 20">
                <a:extLst>
                  <a:ext uri="{FF2B5EF4-FFF2-40B4-BE49-F238E27FC236}">
                    <a16:creationId xmlns:a16="http://schemas.microsoft.com/office/drawing/2014/main" id="{8359D53F-BC29-4D4F-A332-E98C7D6E8B25}"/>
                  </a:ext>
                </a:extLst>
              </p:cNvPr>
              <p:cNvSpPr txBox="1"/>
              <p:nvPr/>
            </p:nvSpPr>
            <p:spPr>
              <a:xfrm>
                <a:off x="0" y="638150"/>
                <a:ext cx="2370951" cy="2092242"/>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successfully  met the growing demand of cyber security in energy sector</a:t>
                </a:r>
              </a:p>
            </p:txBody>
          </p:sp>
        </p:grpSp>
      </p:grpSp>
      <p:grpSp>
        <p:nvGrpSpPr>
          <p:cNvPr id="38" name="Group 37">
            <a:extLst>
              <a:ext uri="{FF2B5EF4-FFF2-40B4-BE49-F238E27FC236}">
                <a16:creationId xmlns:a16="http://schemas.microsoft.com/office/drawing/2014/main" id="{EDA67154-FA88-43FA-BA62-E4343CF1867C}"/>
              </a:ext>
            </a:extLst>
          </p:cNvPr>
          <p:cNvGrpSpPr/>
          <p:nvPr/>
        </p:nvGrpSpPr>
        <p:grpSpPr>
          <a:xfrm>
            <a:off x="8035781" y="4008641"/>
            <a:ext cx="3156063" cy="2195035"/>
            <a:chOff x="6923911" y="2913197"/>
            <a:chExt cx="2069747" cy="3602523"/>
          </a:xfrm>
        </p:grpSpPr>
        <p:sp>
          <p:nvSpPr>
            <p:cNvPr id="39" name="AutoShape 7">
              <a:extLst>
                <a:ext uri="{FF2B5EF4-FFF2-40B4-BE49-F238E27FC236}">
                  <a16:creationId xmlns:a16="http://schemas.microsoft.com/office/drawing/2014/main" id="{9D93242F-1AC5-4751-995A-0E07E478F092}"/>
                </a:ext>
              </a:extLst>
            </p:cNvPr>
            <p:cNvSpPr/>
            <p:nvPr/>
          </p:nvSpPr>
          <p:spPr>
            <a:xfrm>
              <a:off x="6923911" y="2913197"/>
              <a:ext cx="2069747" cy="3602523"/>
            </a:xfrm>
            <a:prstGeom prst="rect">
              <a:avLst/>
            </a:prstGeom>
            <a:solidFill>
              <a:schemeClr val="tx1">
                <a:alpha val="75000"/>
              </a:schemeClr>
            </a:solidFill>
          </p:spPr>
          <p:txBody>
            <a:bodyPr/>
            <a:lstStyle/>
            <a:p>
              <a:endParaRPr lang="en-US"/>
            </a:p>
          </p:txBody>
        </p:sp>
        <p:grpSp>
          <p:nvGrpSpPr>
            <p:cNvPr id="40" name="Group 18">
              <a:extLst>
                <a:ext uri="{FF2B5EF4-FFF2-40B4-BE49-F238E27FC236}">
                  <a16:creationId xmlns:a16="http://schemas.microsoft.com/office/drawing/2014/main" id="{0145EBB3-FDF3-45EE-B9DD-1A43810A63F2}"/>
                </a:ext>
              </a:extLst>
            </p:cNvPr>
            <p:cNvGrpSpPr/>
            <p:nvPr/>
          </p:nvGrpSpPr>
          <p:grpSpPr>
            <a:xfrm>
              <a:off x="7069678" y="3336491"/>
              <a:ext cx="1778213" cy="2404386"/>
              <a:chOff x="0" y="-475455"/>
              <a:chExt cx="2370951" cy="3205847"/>
            </a:xfrm>
          </p:grpSpPr>
          <p:sp>
            <p:nvSpPr>
              <p:cNvPr id="41" name="TextBox 19">
                <a:extLst>
                  <a:ext uri="{FF2B5EF4-FFF2-40B4-BE49-F238E27FC236}">
                    <a16:creationId xmlns:a16="http://schemas.microsoft.com/office/drawing/2014/main" id="{EAD1367E-CA7C-46FE-8624-B1A058B5E220}"/>
                  </a:ext>
                </a:extLst>
              </p:cNvPr>
              <p:cNvSpPr txBox="1"/>
              <p:nvPr/>
            </p:nvSpPr>
            <p:spPr>
              <a:xfrm>
                <a:off x="0" y="-475455"/>
                <a:ext cx="2370951" cy="549213"/>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MCG</a:t>
                </a:r>
              </a:p>
            </p:txBody>
          </p:sp>
          <p:sp>
            <p:nvSpPr>
              <p:cNvPr id="42" name="TextBox 20">
                <a:extLst>
                  <a:ext uri="{FF2B5EF4-FFF2-40B4-BE49-F238E27FC236}">
                    <a16:creationId xmlns:a16="http://schemas.microsoft.com/office/drawing/2014/main" id="{E632A7E4-E7AA-45E9-8A4A-A49A660AFC42}"/>
                  </a:ext>
                </a:extLst>
              </p:cNvPr>
              <p:cNvSpPr txBox="1"/>
              <p:nvPr/>
            </p:nvSpPr>
            <p:spPr>
              <a:xfrm>
                <a:off x="0" y="638149"/>
                <a:ext cx="2370951" cy="2092243"/>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 delivered security services to protect supply chain and ensure resilient IT infrastructures</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grpSp>
      <p:grpSp>
        <p:nvGrpSpPr>
          <p:cNvPr id="43" name="Group 42">
            <a:extLst>
              <a:ext uri="{FF2B5EF4-FFF2-40B4-BE49-F238E27FC236}">
                <a16:creationId xmlns:a16="http://schemas.microsoft.com/office/drawing/2014/main" id="{70BE6CBF-435C-4F17-A4C8-99EC8038EDC8}"/>
              </a:ext>
            </a:extLst>
          </p:cNvPr>
          <p:cNvGrpSpPr/>
          <p:nvPr/>
        </p:nvGrpSpPr>
        <p:grpSpPr>
          <a:xfrm>
            <a:off x="1005636" y="1326234"/>
            <a:ext cx="3215705" cy="2195035"/>
            <a:chOff x="6923911" y="2913197"/>
            <a:chExt cx="2069747" cy="3602523"/>
          </a:xfrm>
        </p:grpSpPr>
        <p:sp>
          <p:nvSpPr>
            <p:cNvPr id="44" name="AutoShape 7">
              <a:extLst>
                <a:ext uri="{FF2B5EF4-FFF2-40B4-BE49-F238E27FC236}">
                  <a16:creationId xmlns:a16="http://schemas.microsoft.com/office/drawing/2014/main" id="{A771C652-5148-47D6-B883-88A0C4DCFC98}"/>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5" name="Group 18">
              <a:extLst>
                <a:ext uri="{FF2B5EF4-FFF2-40B4-BE49-F238E27FC236}">
                  <a16:creationId xmlns:a16="http://schemas.microsoft.com/office/drawing/2014/main" id="{9E45C655-8D16-4F88-8DD5-3E25BC294A2D}"/>
                </a:ext>
              </a:extLst>
            </p:cNvPr>
            <p:cNvGrpSpPr/>
            <p:nvPr/>
          </p:nvGrpSpPr>
          <p:grpSpPr>
            <a:xfrm>
              <a:off x="7015881" y="3411294"/>
              <a:ext cx="1923980" cy="2239177"/>
              <a:chOff x="-71729" y="-375718"/>
              <a:chExt cx="2565307" cy="2985567"/>
            </a:xfrm>
          </p:grpSpPr>
          <p:sp>
            <p:nvSpPr>
              <p:cNvPr id="46" name="TextBox 19">
                <a:extLst>
                  <a:ext uri="{FF2B5EF4-FFF2-40B4-BE49-F238E27FC236}">
                    <a16:creationId xmlns:a16="http://schemas.microsoft.com/office/drawing/2014/main" id="{8C94B04B-A0C2-4895-9335-347173C92502}"/>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ELECOM</a:t>
                </a:r>
              </a:p>
            </p:txBody>
          </p:sp>
          <p:sp>
            <p:nvSpPr>
              <p:cNvPr id="47" name="TextBox 20">
                <a:extLst>
                  <a:ext uri="{FF2B5EF4-FFF2-40B4-BE49-F238E27FC236}">
                    <a16:creationId xmlns:a16="http://schemas.microsoft.com/office/drawing/2014/main" id="{46E383B5-F173-4214-960F-CFC6C1CB4C5B}"/>
                  </a:ext>
                </a:extLst>
              </p:cNvPr>
              <p:cNvSpPr txBox="1"/>
              <p:nvPr/>
            </p:nvSpPr>
            <p:spPr>
              <a:xfrm>
                <a:off x="-71729" y="51760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delivered exceptional services to multiple telecom operators in Middle East and Pakistan</a:t>
                </a:r>
              </a:p>
            </p:txBody>
          </p:sp>
        </p:grpSp>
      </p:grpSp>
      <p:grpSp>
        <p:nvGrpSpPr>
          <p:cNvPr id="48" name="Group 47">
            <a:extLst>
              <a:ext uri="{FF2B5EF4-FFF2-40B4-BE49-F238E27FC236}">
                <a16:creationId xmlns:a16="http://schemas.microsoft.com/office/drawing/2014/main" id="{0ECA5EFB-7F59-4E50-8ED0-930A89CBB776}"/>
              </a:ext>
            </a:extLst>
          </p:cNvPr>
          <p:cNvGrpSpPr/>
          <p:nvPr/>
        </p:nvGrpSpPr>
        <p:grpSpPr>
          <a:xfrm>
            <a:off x="1000155" y="4017074"/>
            <a:ext cx="3221177" cy="2195035"/>
            <a:chOff x="6920388" y="2913197"/>
            <a:chExt cx="2073270" cy="3602523"/>
          </a:xfrm>
        </p:grpSpPr>
        <p:sp>
          <p:nvSpPr>
            <p:cNvPr id="49" name="AutoShape 7">
              <a:extLst>
                <a:ext uri="{FF2B5EF4-FFF2-40B4-BE49-F238E27FC236}">
                  <a16:creationId xmlns:a16="http://schemas.microsoft.com/office/drawing/2014/main" id="{0C6036C4-78CD-4AA0-93AD-A69B49C89810}"/>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50" name="Group 18">
              <a:extLst>
                <a:ext uri="{FF2B5EF4-FFF2-40B4-BE49-F238E27FC236}">
                  <a16:creationId xmlns:a16="http://schemas.microsoft.com/office/drawing/2014/main" id="{39688456-0C28-410F-9139-629DB9169B2C}"/>
                </a:ext>
              </a:extLst>
            </p:cNvPr>
            <p:cNvGrpSpPr/>
            <p:nvPr/>
          </p:nvGrpSpPr>
          <p:grpSpPr>
            <a:xfrm>
              <a:off x="6920388" y="3164669"/>
              <a:ext cx="2069747" cy="2666054"/>
              <a:chOff x="-199053" y="-704552"/>
              <a:chExt cx="2759662" cy="3554739"/>
            </a:xfrm>
          </p:grpSpPr>
          <p:sp>
            <p:nvSpPr>
              <p:cNvPr id="51" name="TextBox 19">
                <a:extLst>
                  <a:ext uri="{FF2B5EF4-FFF2-40B4-BE49-F238E27FC236}">
                    <a16:creationId xmlns:a16="http://schemas.microsoft.com/office/drawing/2014/main" id="{351F90E5-632C-4FB5-BA72-B4807999529E}"/>
                  </a:ext>
                </a:extLst>
              </p:cNvPr>
              <p:cNvSpPr txBox="1"/>
              <p:nvPr/>
            </p:nvSpPr>
            <p:spPr>
              <a:xfrm>
                <a:off x="-199053" y="-704552"/>
                <a:ext cx="2759662" cy="1099213"/>
              </a:xfrm>
              <a:prstGeom prst="rect">
                <a:avLst/>
              </a:prstGeom>
            </p:spPr>
            <p:txBody>
              <a:bodyPr wrap="square"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ORMATION TECHNOLOGY</a:t>
                </a:r>
              </a:p>
            </p:txBody>
          </p:sp>
          <p:sp>
            <p:nvSpPr>
              <p:cNvPr id="52" name="TextBox 20">
                <a:extLst>
                  <a:ext uri="{FF2B5EF4-FFF2-40B4-BE49-F238E27FC236}">
                    <a16:creationId xmlns:a16="http://schemas.microsoft.com/office/drawing/2014/main" id="{63C872AE-64B9-4886-8C89-6C8C346527CB}"/>
                  </a:ext>
                </a:extLst>
              </p:cNvPr>
              <p:cNvSpPr txBox="1"/>
              <p:nvPr/>
            </p:nvSpPr>
            <p:spPr>
              <a:xfrm>
                <a:off x="-118982" y="757945"/>
                <a:ext cx="2565307" cy="2092242"/>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mpanies like application developers, service providers also need our expertise and experience</a:t>
                </a:r>
              </a:p>
            </p:txBody>
          </p:sp>
        </p:grpSp>
      </p:grpSp>
      <p:sp>
        <p:nvSpPr>
          <p:cNvPr id="17" name="Freeform 11">
            <a:extLst>
              <a:ext uri="{FF2B5EF4-FFF2-40B4-BE49-F238E27FC236}">
                <a16:creationId xmlns:a16="http://schemas.microsoft.com/office/drawing/2014/main" id="{0D78C49B-8DCD-D14E-6C0F-6BCAAEC3573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9" name="Freeform 12">
            <a:extLst>
              <a:ext uri="{FF2B5EF4-FFF2-40B4-BE49-F238E27FC236}">
                <a16:creationId xmlns:a16="http://schemas.microsoft.com/office/drawing/2014/main" id="{A535B1F7-CC02-EEBE-3D1D-FEA74F847A1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Freeform: Shape 3">
            <a:extLst>
              <a:ext uri="{FF2B5EF4-FFF2-40B4-BE49-F238E27FC236}">
                <a16:creationId xmlns:a16="http://schemas.microsoft.com/office/drawing/2014/main" id="{94A0893C-A1D1-32FE-D5A9-8563AD455AFF}"/>
              </a:ext>
            </a:extLst>
          </p:cNvPr>
          <p:cNvSpPr>
            <a:spLocks noGrp="1" noRot="1" noMove="1" noResize="1" noEditPoints="1" noAdjustHandles="1" noChangeArrowheads="1" noChangeShapeType="1"/>
          </p:cNvSpPr>
          <p:nvPr/>
        </p:nvSpPr>
        <p:spPr>
          <a:xfrm>
            <a:off x="-11034" y="6286791"/>
            <a:ext cx="1220303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5" descr="Logo&#10;&#10;Description automatically generated">
            <a:extLst>
              <a:ext uri="{FF2B5EF4-FFF2-40B4-BE49-F238E27FC236}">
                <a16:creationId xmlns:a16="http://schemas.microsoft.com/office/drawing/2014/main" id="{3E3C38B4-2454-9FBE-97BB-EFAFE1F7FFFB}"/>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74B625D7-6612-B2E1-CE75-15A66B59F146}"/>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3494610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5" name="Picture 9">
            <a:extLst>
              <a:ext uri="{FF2B5EF4-FFF2-40B4-BE49-F238E27FC236}">
                <a16:creationId xmlns:a16="http://schemas.microsoft.com/office/drawing/2014/main" id="{0F0EE7CA-8F7B-8E2E-EA6E-02F40B282D44}"/>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4169566" y="331759"/>
            <a:ext cx="2318575" cy="692481"/>
          </a:xfrm>
          <a:prstGeom prst="rect">
            <a:avLst/>
          </a:prstGeom>
        </p:spPr>
      </p:pic>
      <p:pic>
        <p:nvPicPr>
          <p:cNvPr id="98" name="Picture 15">
            <a:extLst>
              <a:ext uri="{FF2B5EF4-FFF2-40B4-BE49-F238E27FC236}">
                <a16:creationId xmlns:a16="http://schemas.microsoft.com/office/drawing/2014/main" id="{5FD19C19-91FB-3E39-2BBB-12AA08914BB2}"/>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637125" y="3730023"/>
            <a:ext cx="2849927" cy="893798"/>
          </a:xfrm>
          <a:prstGeom prst="rect">
            <a:avLst/>
          </a:prstGeom>
        </p:spPr>
      </p:pic>
      <p:pic>
        <p:nvPicPr>
          <p:cNvPr id="102" name="Picture 21">
            <a:extLst>
              <a:ext uri="{FF2B5EF4-FFF2-40B4-BE49-F238E27FC236}">
                <a16:creationId xmlns:a16="http://schemas.microsoft.com/office/drawing/2014/main" id="{F10EEDE0-4641-4136-BF32-DCF8E7AC5953}"/>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1144449" y="5277495"/>
            <a:ext cx="2621759" cy="739795"/>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16" name="Picture 115">
            <a:extLst>
              <a:ext uri="{FF2B5EF4-FFF2-40B4-BE49-F238E27FC236}">
                <a16:creationId xmlns:a16="http://schemas.microsoft.com/office/drawing/2014/main" id="{ED430214-44F2-0FB1-E669-B3DF57B24B2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69945" y="51749"/>
            <a:ext cx="1424257" cy="1424257"/>
          </a:xfrm>
          <a:prstGeom prst="rect">
            <a:avLst/>
          </a:prstGeom>
        </p:spPr>
      </p:pic>
      <p:pic>
        <p:nvPicPr>
          <p:cNvPr id="117" name="Picture 116">
            <a:extLst>
              <a:ext uri="{FF2B5EF4-FFF2-40B4-BE49-F238E27FC236}">
                <a16:creationId xmlns:a16="http://schemas.microsoft.com/office/drawing/2014/main" id="{300C6210-9E7E-4417-7E8F-13AC2F35BDC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77680" y="4125907"/>
            <a:ext cx="1187935" cy="842723"/>
          </a:xfrm>
          <a:prstGeom prst="rect">
            <a:avLst/>
          </a:prstGeom>
        </p:spPr>
      </p:pic>
      <p:pic>
        <p:nvPicPr>
          <p:cNvPr id="120" name="Picture 119">
            <a:extLst>
              <a:ext uri="{FF2B5EF4-FFF2-40B4-BE49-F238E27FC236}">
                <a16:creationId xmlns:a16="http://schemas.microsoft.com/office/drawing/2014/main" id="{B307E66C-49B9-E2F3-333B-8B081241839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653341" y="4287027"/>
            <a:ext cx="2223284" cy="779457"/>
          </a:xfrm>
          <a:prstGeom prst="rect">
            <a:avLst/>
          </a:prstGeom>
        </p:spPr>
      </p:pic>
      <p:pic>
        <p:nvPicPr>
          <p:cNvPr id="96" name="Picture 10">
            <a:extLst>
              <a:ext uri="{FF2B5EF4-FFF2-40B4-BE49-F238E27FC236}">
                <a16:creationId xmlns:a16="http://schemas.microsoft.com/office/drawing/2014/main" id="{E9DD5936-4414-894A-3CEA-15497C198B6F}"/>
              </a:ext>
            </a:extLst>
          </p:cNvPr>
          <p:cNvPicPr>
            <a:picLocks noChangeAspect="1"/>
          </p:cNvPicPr>
          <p:nvPr/>
        </p:nvPicPr>
        <p:blipFill rotWithShape="1">
          <a:blip r:embed="rId9" cstate="print">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l="13487" t="7983" r="9576" b="-1"/>
          <a:stretch/>
        </p:blipFill>
        <p:spPr>
          <a:xfrm>
            <a:off x="1347581" y="2543886"/>
            <a:ext cx="1526391" cy="1064925"/>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0842" y="1414153"/>
            <a:ext cx="2280629" cy="1186166"/>
            <a:chOff x="-23164" y="-349664"/>
            <a:chExt cx="2696266" cy="1686991"/>
          </a:xfrm>
        </p:grpSpPr>
        <p:sp>
          <p:nvSpPr>
            <p:cNvPr id="133" name="TextBox 5">
              <a:extLst>
                <a:ext uri="{FF2B5EF4-FFF2-40B4-BE49-F238E27FC236}">
                  <a16:creationId xmlns:a16="http://schemas.microsoft.com/office/drawing/2014/main" id="{766C6454-A9E1-8C20-5F67-F61D5F965F36}"/>
                </a:ext>
              </a:extLst>
            </p:cNvPr>
            <p:cNvSpPr txBox="1"/>
            <p:nvPr/>
          </p:nvSpPr>
          <p:spPr>
            <a:xfrm>
              <a:off x="-23164" y="-34966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Banking Sector</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94" name="Picture 6">
            <a:extLst>
              <a:ext uri="{FF2B5EF4-FFF2-40B4-BE49-F238E27FC236}">
                <a16:creationId xmlns:a16="http://schemas.microsoft.com/office/drawing/2014/main" id="{2EEFA0A9-54C0-C7F8-EF72-6C52BA968127}"/>
              </a:ext>
            </a:extLst>
          </p:cNvPr>
          <p:cNvPicPr>
            <a:picLocks noChangeAspect="1"/>
          </p:cNvPicPr>
          <p:nvPr/>
        </p:nvPicPr>
        <p:blipFill>
          <a:blip r:embed="rId12" cstate="print">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4171545" y="3262166"/>
            <a:ext cx="1713599" cy="935715"/>
          </a:xfrm>
          <a:prstGeom prst="rect">
            <a:avLst/>
          </a:prstGeom>
        </p:spPr>
      </p:pic>
      <p:pic>
        <p:nvPicPr>
          <p:cNvPr id="97" name="Picture 11">
            <a:extLst>
              <a:ext uri="{FF2B5EF4-FFF2-40B4-BE49-F238E27FC236}">
                <a16:creationId xmlns:a16="http://schemas.microsoft.com/office/drawing/2014/main" id="{F21F1F1D-19DB-F157-EA8A-2C98A689EB90}"/>
              </a:ext>
            </a:extLst>
          </p:cNvPr>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a:xfrm>
            <a:off x="585503" y="1520116"/>
            <a:ext cx="2901549" cy="740191"/>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3" name="Picture 2" descr="Home">
            <a:extLst>
              <a:ext uri="{FF2B5EF4-FFF2-40B4-BE49-F238E27FC236}">
                <a16:creationId xmlns:a16="http://schemas.microsoft.com/office/drawing/2014/main" id="{288C5A3A-18E2-0518-7D35-1D3A7BD32B9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27381" y="422733"/>
            <a:ext cx="2849928" cy="605784"/>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16">
            <a:extLst>
              <a:ext uri="{FF2B5EF4-FFF2-40B4-BE49-F238E27FC236}">
                <a16:creationId xmlns:a16="http://schemas.microsoft.com/office/drawing/2014/main" id="{4D2B52CB-5E96-EEA5-05D3-C3F4118A554D}"/>
              </a:ext>
            </a:extLst>
          </p:cNvPr>
          <p:cNvPicPr>
            <a:picLocks noChangeAspect="1"/>
          </p:cNvPicPr>
          <p:nvPr/>
        </p:nvPicPr>
        <p:blipFill>
          <a:blip r:embed="rId16" cstate="print">
            <a:extLst>
              <a:ext uri="{BEBA8EAE-BF5A-486C-A8C5-ECC9F3942E4B}">
                <a14:imgProps xmlns:a14="http://schemas.microsoft.com/office/drawing/2010/main">
                  <a14:imgLayer r:embed="rId17">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5614353" y="5206594"/>
            <a:ext cx="2750518" cy="765538"/>
          </a:xfrm>
          <a:prstGeom prst="rect">
            <a:avLst/>
          </a:prstGeom>
        </p:spPr>
      </p:pic>
      <p:pic>
        <p:nvPicPr>
          <p:cNvPr id="107" name="Picture 2">
            <a:extLst>
              <a:ext uri="{FF2B5EF4-FFF2-40B4-BE49-F238E27FC236}">
                <a16:creationId xmlns:a16="http://schemas.microsoft.com/office/drawing/2014/main" id="{3D4385F2-9782-6D7C-6D22-D6285DF81F5E}"/>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939948" y="2841905"/>
            <a:ext cx="1654644" cy="1046039"/>
          </a:xfrm>
          <a:prstGeom prst="rect">
            <a:avLst/>
          </a:prstGeom>
          <a:noFill/>
          <a:ln w="9525">
            <a:noFill/>
            <a:miter lim="800000"/>
            <a:headEnd/>
            <a:tailEnd/>
          </a:ln>
        </p:spPr>
      </p:pic>
      <p:pic>
        <p:nvPicPr>
          <p:cNvPr id="1026" name="Picture 2" descr="BankIslami - Wikipedia">
            <a:extLst>
              <a:ext uri="{FF2B5EF4-FFF2-40B4-BE49-F238E27FC236}">
                <a16:creationId xmlns:a16="http://schemas.microsoft.com/office/drawing/2014/main" id="{68CAAE48-8F5D-BD22-A37B-D87445122EE9}"/>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3848222" y="1281252"/>
            <a:ext cx="1290449" cy="167008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Khushhali Microfinance Bank - Wikipedia">
            <a:extLst>
              <a:ext uri="{FF2B5EF4-FFF2-40B4-BE49-F238E27FC236}">
                <a16:creationId xmlns:a16="http://schemas.microsoft.com/office/drawing/2014/main" id="{C60CFFA0-F446-AA09-6D29-30B77F65AECE}"/>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5521236" y="1590276"/>
            <a:ext cx="1844622" cy="1370866"/>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Social Development Bank - Head Office - AHC">
            <a:extLst>
              <a:ext uri="{FF2B5EF4-FFF2-40B4-BE49-F238E27FC236}">
                <a16:creationId xmlns:a16="http://schemas.microsoft.com/office/drawing/2014/main" id="{345B0F0C-69F7-8C7F-68E1-9EC64C91DF2B}"/>
              </a:ext>
            </a:extLst>
          </p:cNvPr>
          <p:cNvPicPr>
            <a:picLocks noChangeAspect="1" noChangeArrowheads="1"/>
          </p:cNvPicPr>
          <p:nvPr/>
        </p:nvPicPr>
        <p:blipFill>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973435" y="5246622"/>
            <a:ext cx="1193285" cy="11932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32579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8" name="Picture 3">
            <a:extLst>
              <a:ext uri="{FF2B5EF4-FFF2-40B4-BE49-F238E27FC236}">
                <a16:creationId xmlns:a16="http://schemas.microsoft.com/office/drawing/2014/main" id="{73515AAA-0A45-550C-C7AC-7E67EC69A232}"/>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29286" y="116569"/>
            <a:ext cx="2555541" cy="1962952"/>
          </a:xfrm>
          <a:prstGeom prst="rect">
            <a:avLst/>
          </a:prstGeom>
          <a:noFill/>
          <a:ln w="9525">
            <a:noFill/>
            <a:miter lim="800000"/>
            <a:headEnd/>
            <a:tailEnd/>
          </a:ln>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pic>
        <p:nvPicPr>
          <p:cNvPr id="111" name="Picture 8">
            <a:extLst>
              <a:ext uri="{FF2B5EF4-FFF2-40B4-BE49-F238E27FC236}">
                <a16:creationId xmlns:a16="http://schemas.microsoft.com/office/drawing/2014/main" id="{36715BDF-DCE2-19DF-8960-4A7086BCD71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77318" y="4175104"/>
            <a:ext cx="1842045" cy="2064967"/>
          </a:xfrm>
          <a:prstGeom prst="rect">
            <a:avLst/>
          </a:prstGeom>
          <a:noFill/>
          <a:ln w="9525">
            <a:noFill/>
            <a:miter lim="800000"/>
            <a:headEnd/>
            <a:tailEnd/>
          </a:ln>
        </p:spPr>
      </p:pic>
      <p:pic>
        <p:nvPicPr>
          <p:cNvPr id="113" name="Picture 11">
            <a:extLst>
              <a:ext uri="{FF2B5EF4-FFF2-40B4-BE49-F238E27FC236}">
                <a16:creationId xmlns:a16="http://schemas.microsoft.com/office/drawing/2014/main" id="{AC2018CC-3EE3-4DBF-FC39-36A872AC69C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56412" y="4115679"/>
            <a:ext cx="2219316" cy="1597907"/>
          </a:xfrm>
          <a:prstGeom prst="rect">
            <a:avLst/>
          </a:prstGeom>
          <a:noFill/>
          <a:ln w="9525">
            <a:noFill/>
            <a:miter lim="800000"/>
            <a:headEnd/>
            <a:tailEnd/>
          </a:ln>
        </p:spPr>
      </p:pic>
      <p:pic>
        <p:nvPicPr>
          <p:cNvPr id="122" name="Picture 121">
            <a:extLst>
              <a:ext uri="{FF2B5EF4-FFF2-40B4-BE49-F238E27FC236}">
                <a16:creationId xmlns:a16="http://schemas.microsoft.com/office/drawing/2014/main" id="{1831CBD3-73DF-14F3-4A95-A510BD31F5A7}"/>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3231920" y="4357060"/>
            <a:ext cx="2116426" cy="1635420"/>
          </a:xfrm>
          <a:prstGeom prst="rect">
            <a:avLst/>
          </a:prstGeom>
        </p:spPr>
      </p:pic>
      <p:pic>
        <p:nvPicPr>
          <p:cNvPr id="114" name="Picture 113">
            <a:extLst>
              <a:ext uri="{FF2B5EF4-FFF2-40B4-BE49-F238E27FC236}">
                <a16:creationId xmlns:a16="http://schemas.microsoft.com/office/drawing/2014/main" id="{1DF887A2-94DB-9F53-6076-40257BDE7C2E}"/>
              </a:ext>
            </a:extLst>
          </p:cNvPr>
          <p:cNvPicPr>
            <a:picLocks noChangeAspect="1"/>
          </p:cNvPicPr>
          <p:nvPr/>
        </p:nvPicPr>
        <p:blipFill>
          <a:blip r:embed="rId7" cstate="print">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147905" y="3008510"/>
            <a:ext cx="3101474" cy="759964"/>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a:ea typeface="+mn-ea"/>
                <a:cs typeface="Calibri" panose="020F0502020204030204" pitchFamily="34" charset="0"/>
              </a:rPr>
              <a:t>Our selected esteemed partners (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8956143" y="1349354"/>
            <a:ext cx="2977053" cy="1250965"/>
            <a:chOff x="-194234" y="-441823"/>
            <a:chExt cx="3519612" cy="1779150"/>
          </a:xfrm>
        </p:grpSpPr>
        <p:sp>
          <p:nvSpPr>
            <p:cNvPr id="133" name="TextBox 5">
              <a:extLst>
                <a:ext uri="{FF2B5EF4-FFF2-40B4-BE49-F238E27FC236}">
                  <a16:creationId xmlns:a16="http://schemas.microsoft.com/office/drawing/2014/main" id="{766C6454-A9E1-8C20-5F67-F61D5F965F36}"/>
                </a:ext>
              </a:extLst>
            </p:cNvPr>
            <p:cNvSpPr txBox="1"/>
            <p:nvPr/>
          </p:nvSpPr>
          <p:spPr>
            <a:xfrm>
              <a:off x="-194234" y="-441823"/>
              <a:ext cx="3519612" cy="1609650"/>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3600" b="1" spc="-45">
                  <a:solidFill>
                    <a:prstClr val="white"/>
                  </a:solidFill>
                  <a:latin typeface="+mj-lt"/>
                </a:rPr>
                <a:t>TELECOMMUNICATION</a:t>
              </a:r>
              <a:r>
                <a:rPr kumimoji="0" lang="en-US" sz="3600" b="1" i="0" u="none" strike="noStrike" kern="1200" cap="none" spc="-45" normalizeH="0" baseline="0" noProof="0">
                  <a:ln>
                    <a:noFill/>
                  </a:ln>
                  <a:solidFill>
                    <a:prstClr val="white"/>
                  </a:solidFill>
                  <a:effectLst/>
                  <a:uLnTx/>
                  <a:uFillTx/>
                  <a:latin typeface="+mj-lt"/>
                  <a:ea typeface="+mn-ea"/>
                  <a:cs typeface="+mn-cs"/>
                </a:rPr>
                <a:t> SECTOR</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15" name="Picture 9">
            <a:extLst>
              <a:ext uri="{FF2B5EF4-FFF2-40B4-BE49-F238E27FC236}">
                <a16:creationId xmlns:a16="http://schemas.microsoft.com/office/drawing/2014/main" id="{13B1FBD0-4E34-FD59-6861-B1D8255FC848}"/>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218594" y="1757732"/>
            <a:ext cx="1554646" cy="1201751"/>
          </a:xfrm>
          <a:prstGeom prst="rect">
            <a:avLst/>
          </a:prstGeom>
          <a:noFill/>
          <a:ln w="9525">
            <a:noFill/>
            <a:miter lim="800000"/>
            <a:headEnd/>
            <a:tailEnd/>
          </a:ln>
        </p:spPr>
      </p:pic>
      <p:pic>
        <p:nvPicPr>
          <p:cNvPr id="3074" name="Picture 2">
            <a:extLst>
              <a:ext uri="{FF2B5EF4-FFF2-40B4-BE49-F238E27FC236}">
                <a16:creationId xmlns:a16="http://schemas.microsoft.com/office/drawing/2014/main" id="{464D812F-0982-5F57-47D4-AD14464D7510}"/>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09794" y="2015463"/>
            <a:ext cx="2921685" cy="1753011"/>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7765FD1A-83B4-F5BD-2F7C-A017F59D0500}"/>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923201" y="345741"/>
            <a:ext cx="3533991" cy="20128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49680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 name="Picture 18">
            <a:extLst>
              <a:ext uri="{FF2B5EF4-FFF2-40B4-BE49-F238E27FC236}">
                <a16:creationId xmlns:a16="http://schemas.microsoft.com/office/drawing/2014/main" id="{F214638A-3055-8411-B5E0-D3FD9A90D9DA}"/>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12934" y="962871"/>
            <a:ext cx="2293833" cy="693884"/>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20435" y="1720286"/>
            <a:ext cx="2280629" cy="880033"/>
            <a:chOff x="0" y="85725"/>
            <a:chExt cx="2696266"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2696266" cy="820737"/>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ea typeface="+mn-ea"/>
                  <a:cs typeface="+mn-cs"/>
                </a:rPr>
                <a:t>Fintech </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4" name="Picture 3" descr="A picture containing text, plate, dishware, tableware&#10;&#10;Description automatically generated">
            <a:extLst>
              <a:ext uri="{FF2B5EF4-FFF2-40B4-BE49-F238E27FC236}">
                <a16:creationId xmlns:a16="http://schemas.microsoft.com/office/drawing/2014/main" id="{FBFD65EF-7F69-3C26-DE09-9641F0A6077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15292" y="2193136"/>
            <a:ext cx="1565812" cy="923829"/>
          </a:xfrm>
          <a:prstGeom prst="rect">
            <a:avLst/>
          </a:prstGeom>
        </p:spPr>
      </p:pic>
      <p:pic>
        <p:nvPicPr>
          <p:cNvPr id="6" name="Picture 5" descr="Text, logo&#10;&#10;Description automatically generated">
            <a:extLst>
              <a:ext uri="{FF2B5EF4-FFF2-40B4-BE49-F238E27FC236}">
                <a16:creationId xmlns:a16="http://schemas.microsoft.com/office/drawing/2014/main" id="{5E4AF7D5-A1A0-75A7-30AD-DFB4BBF874C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24838" y="3227106"/>
            <a:ext cx="2155386" cy="610539"/>
          </a:xfrm>
          <a:prstGeom prst="rect">
            <a:avLst/>
          </a:prstGeom>
        </p:spPr>
      </p:pic>
      <p:grpSp>
        <p:nvGrpSpPr>
          <p:cNvPr id="5" name="Group 4">
            <a:extLst>
              <a:ext uri="{FF2B5EF4-FFF2-40B4-BE49-F238E27FC236}">
                <a16:creationId xmlns:a16="http://schemas.microsoft.com/office/drawing/2014/main" id="{6DC16425-C375-F3BE-D70C-043E539215D0}"/>
              </a:ext>
            </a:extLst>
          </p:cNvPr>
          <p:cNvGrpSpPr/>
          <p:nvPr/>
        </p:nvGrpSpPr>
        <p:grpSpPr>
          <a:xfrm>
            <a:off x="296128" y="242935"/>
            <a:ext cx="3019382" cy="774966"/>
            <a:chOff x="5302655" y="2932845"/>
            <a:chExt cx="2714667" cy="646246"/>
          </a:xfrm>
        </p:grpSpPr>
        <p:pic>
          <p:nvPicPr>
            <p:cNvPr id="8" name="Picture 7" descr="Logo&#10;&#10;Description automatically generated">
              <a:extLst>
                <a:ext uri="{FF2B5EF4-FFF2-40B4-BE49-F238E27FC236}">
                  <a16:creationId xmlns:a16="http://schemas.microsoft.com/office/drawing/2014/main" id="{6C51DB57-E74F-79B0-1C7D-3B5D6FADAF97}"/>
                </a:ext>
              </a:extLst>
            </p:cNvPr>
            <p:cNvPicPr>
              <a:picLocks noChangeAspect="1"/>
            </p:cNvPicPr>
            <p:nvPr/>
          </p:nvPicPr>
          <p:blipFill rotWithShape="1">
            <a:blip r:embed="rId6">
              <a:extLst>
                <a:ext uri="{28A0092B-C50C-407E-A947-70E740481C1C}">
                  <a14:useLocalDpi xmlns:a14="http://schemas.microsoft.com/office/drawing/2010/main" val="0"/>
                </a:ext>
              </a:extLst>
            </a:blip>
            <a:srcRect t="61578" b="19130"/>
            <a:stretch/>
          </p:blipFill>
          <p:spPr>
            <a:xfrm>
              <a:off x="5302655" y="3077525"/>
              <a:ext cx="2143125" cy="413449"/>
            </a:xfrm>
            <a:prstGeom prst="rect">
              <a:avLst/>
            </a:prstGeom>
          </p:spPr>
        </p:pic>
        <p:pic>
          <p:nvPicPr>
            <p:cNvPr id="9" name="Picture 8" descr="Logo&#10;&#10;Description automatically generated">
              <a:extLst>
                <a:ext uri="{FF2B5EF4-FFF2-40B4-BE49-F238E27FC236}">
                  <a16:creationId xmlns:a16="http://schemas.microsoft.com/office/drawing/2014/main" id="{88475AC3-C1AD-97A1-CBA9-5D994A5C6DC3}"/>
                </a:ext>
              </a:extLst>
            </p:cNvPr>
            <p:cNvPicPr>
              <a:picLocks noChangeAspect="1"/>
            </p:cNvPicPr>
            <p:nvPr/>
          </p:nvPicPr>
          <p:blipFill rotWithShape="1">
            <a:blip r:embed="rId6">
              <a:extLst>
                <a:ext uri="{28A0092B-C50C-407E-A947-70E740481C1C}">
                  <a14:useLocalDpi xmlns:a14="http://schemas.microsoft.com/office/drawing/2010/main" val="0"/>
                </a:ext>
              </a:extLst>
            </a:blip>
            <a:srcRect l="26662" t="15801" r="26941" b="38421"/>
            <a:stretch/>
          </p:blipFill>
          <p:spPr>
            <a:xfrm>
              <a:off x="7362333" y="2932845"/>
              <a:ext cx="654989" cy="646246"/>
            </a:xfrm>
            <a:prstGeom prst="rect">
              <a:avLst/>
            </a:prstGeom>
          </p:spPr>
        </p:pic>
      </p:grpSp>
      <p:pic>
        <p:nvPicPr>
          <p:cNvPr id="11" name="Picture 10" descr="A picture containing text, sign, tableware&#10;&#10;Description automatically generated">
            <a:extLst>
              <a:ext uri="{FF2B5EF4-FFF2-40B4-BE49-F238E27FC236}">
                <a16:creationId xmlns:a16="http://schemas.microsoft.com/office/drawing/2014/main" id="{D6412B60-0A85-EE3C-93C1-35253494C22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68613" y="107318"/>
            <a:ext cx="1206163" cy="368146"/>
          </a:xfrm>
          <a:prstGeom prst="rect">
            <a:avLst/>
          </a:prstGeom>
        </p:spPr>
      </p:pic>
      <p:grpSp>
        <p:nvGrpSpPr>
          <p:cNvPr id="16" name="Group 15">
            <a:extLst>
              <a:ext uri="{FF2B5EF4-FFF2-40B4-BE49-F238E27FC236}">
                <a16:creationId xmlns:a16="http://schemas.microsoft.com/office/drawing/2014/main" id="{1B4D86F0-F8F8-2C45-F61D-8B011235183E}"/>
              </a:ext>
            </a:extLst>
          </p:cNvPr>
          <p:cNvGrpSpPr/>
          <p:nvPr/>
        </p:nvGrpSpPr>
        <p:grpSpPr>
          <a:xfrm>
            <a:off x="4559769" y="931347"/>
            <a:ext cx="1598089" cy="678568"/>
            <a:chOff x="3947034" y="3649420"/>
            <a:chExt cx="1862782" cy="492767"/>
          </a:xfrm>
        </p:grpSpPr>
        <p:pic>
          <p:nvPicPr>
            <p:cNvPr id="17" name="Picture 16">
              <a:extLst>
                <a:ext uri="{FF2B5EF4-FFF2-40B4-BE49-F238E27FC236}">
                  <a16:creationId xmlns:a16="http://schemas.microsoft.com/office/drawing/2014/main" id="{1A2B61A3-C798-5304-F51E-2A2D1349C5F3}"/>
                </a:ext>
              </a:extLst>
            </p:cNvPr>
            <p:cNvPicPr>
              <a:picLocks noChangeAspect="1"/>
            </p:cNvPicPr>
            <p:nvPr/>
          </p:nvPicPr>
          <p:blipFill rotWithShape="1">
            <a:blip r:embed="rId8">
              <a:extLst>
                <a:ext uri="{28A0092B-C50C-407E-A947-70E740481C1C}">
                  <a14:useLocalDpi xmlns:a14="http://schemas.microsoft.com/office/drawing/2010/main" val="0"/>
                </a:ext>
              </a:extLst>
            </a:blip>
            <a:srcRect t="39126" b="21593"/>
            <a:stretch/>
          </p:blipFill>
          <p:spPr>
            <a:xfrm>
              <a:off x="3947034" y="3649420"/>
              <a:ext cx="948678" cy="456488"/>
            </a:xfrm>
            <a:prstGeom prst="rect">
              <a:avLst/>
            </a:prstGeom>
          </p:spPr>
        </p:pic>
        <p:pic>
          <p:nvPicPr>
            <p:cNvPr id="18" name="Picture 17">
              <a:extLst>
                <a:ext uri="{FF2B5EF4-FFF2-40B4-BE49-F238E27FC236}">
                  <a16:creationId xmlns:a16="http://schemas.microsoft.com/office/drawing/2014/main" id="{D20C2212-9475-E000-4022-3BB2ECF53930}"/>
                </a:ext>
              </a:extLst>
            </p:cNvPr>
            <p:cNvPicPr>
              <a:picLocks noChangeAspect="1"/>
            </p:cNvPicPr>
            <p:nvPr/>
          </p:nvPicPr>
          <p:blipFill rotWithShape="1">
            <a:blip r:embed="rId8">
              <a:extLst>
                <a:ext uri="{28A0092B-C50C-407E-A947-70E740481C1C}">
                  <a14:useLocalDpi xmlns:a14="http://schemas.microsoft.com/office/drawing/2010/main" val="0"/>
                </a:ext>
              </a:extLst>
            </a:blip>
            <a:srcRect b="57598"/>
            <a:stretch/>
          </p:blipFill>
          <p:spPr>
            <a:xfrm>
              <a:off x="4861138" y="3649420"/>
              <a:ext cx="948678" cy="492767"/>
            </a:xfrm>
            <a:prstGeom prst="rect">
              <a:avLst/>
            </a:prstGeom>
          </p:spPr>
        </p:pic>
      </p:grpSp>
      <p:pic>
        <p:nvPicPr>
          <p:cNvPr id="2050" name="Picture 2" descr="Fintech Saudi – فنتك السعودية">
            <a:extLst>
              <a:ext uri="{FF2B5EF4-FFF2-40B4-BE49-F238E27FC236}">
                <a16:creationId xmlns:a16="http://schemas.microsoft.com/office/drawing/2014/main" id="{6E9A8A93-8E00-78D5-23A1-585D430956E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523185" y="5165009"/>
            <a:ext cx="2143125" cy="56998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Simplified Financial Solutions Company - SiFi | LinkedIn">
            <a:extLst>
              <a:ext uri="{FF2B5EF4-FFF2-40B4-BE49-F238E27FC236}">
                <a16:creationId xmlns:a16="http://schemas.microsoft.com/office/drawing/2014/main" id="{59551F1C-D4FE-A44E-9F67-51396D6FB794}"/>
              </a:ext>
            </a:extLst>
          </p:cNvPr>
          <p:cNvPicPr>
            <a:picLocks noChangeAspect="1" noChangeArrowheads="1"/>
          </p:cNvPicPr>
          <p:nvPr/>
        </p:nvPicPr>
        <p:blipFill>
          <a:blip r:embed="rId10">
            <a:extLst>
              <a:ext uri="{BEBA8EAE-BF5A-486C-A8C5-ECC9F3942E4B}">
                <a14:imgProps xmlns:a14="http://schemas.microsoft.com/office/drawing/2010/main">
                  <a14:imgLayer r:embed="rId11">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7210572" y="3863209"/>
            <a:ext cx="1424893" cy="1424893"/>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Medgulf - Lifecare International Insurance">
            <a:extLst>
              <a:ext uri="{FF2B5EF4-FFF2-40B4-BE49-F238E27FC236}">
                <a16:creationId xmlns:a16="http://schemas.microsoft.com/office/drawing/2014/main" id="{A842AC6A-5B1B-F109-57C7-6D41A4DEBF4E}"/>
              </a:ext>
            </a:extLst>
          </p:cNvPr>
          <p:cNvPicPr>
            <a:picLocks noChangeAspect="1" noChangeArrowheads="1"/>
          </p:cNvPicPr>
          <p:nvPr/>
        </p:nvPicPr>
        <p:blipFill>
          <a:blip r:embed="rId12">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527624" y="3370132"/>
            <a:ext cx="1566649" cy="1566649"/>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Tiqmo | LinkedIn">
            <a:extLst>
              <a:ext uri="{FF2B5EF4-FFF2-40B4-BE49-F238E27FC236}">
                <a16:creationId xmlns:a16="http://schemas.microsoft.com/office/drawing/2014/main" id="{A0869C78-9A32-4255-7E4B-C5AA2B3DF7BC}"/>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085531" y="838140"/>
            <a:ext cx="1609635" cy="135563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5" name="Picture 14" descr="A picture containing text, clock, gauge&#10;&#10;Description automatically generated">
            <a:extLst>
              <a:ext uri="{FF2B5EF4-FFF2-40B4-BE49-F238E27FC236}">
                <a16:creationId xmlns:a16="http://schemas.microsoft.com/office/drawing/2014/main" id="{2B40682F-B07C-50D3-284E-1F93CA8D51C1}"/>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531823" y="62810"/>
            <a:ext cx="1856887" cy="613977"/>
          </a:xfrm>
          <a:prstGeom prst="rect">
            <a:avLst/>
          </a:prstGeom>
        </p:spPr>
      </p:pic>
      <p:pic>
        <p:nvPicPr>
          <p:cNvPr id="2062" name="Picture 14" descr="Allianz Saudi Fransi Co.">
            <a:extLst>
              <a:ext uri="{FF2B5EF4-FFF2-40B4-BE49-F238E27FC236}">
                <a16:creationId xmlns:a16="http://schemas.microsoft.com/office/drawing/2014/main" id="{D404A6A6-0270-502A-3B24-71768538677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93696" y="2459641"/>
            <a:ext cx="2991860" cy="147784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D473F81A-29FB-36F9-F9E5-3515E5CB8C56}"/>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421811" y="1761056"/>
            <a:ext cx="1771363" cy="714584"/>
          </a:xfrm>
          <a:prstGeom prst="rect">
            <a:avLst/>
          </a:prstGeom>
          <a:ln>
            <a:noFill/>
          </a:ln>
        </p:spPr>
      </p:pic>
      <p:pic>
        <p:nvPicPr>
          <p:cNvPr id="10" name="Picture 9" descr="Logo&#10;&#10;Description automatically generated">
            <a:extLst>
              <a:ext uri="{FF2B5EF4-FFF2-40B4-BE49-F238E27FC236}">
                <a16:creationId xmlns:a16="http://schemas.microsoft.com/office/drawing/2014/main" id="{66F591AF-0331-719C-3929-7830F5ACC5C3}"/>
              </a:ext>
            </a:extLst>
          </p:cNvPr>
          <p:cNvPicPr>
            <a:picLocks noChangeAspect="1"/>
          </p:cNvPicPr>
          <p:nvPr/>
        </p:nvPicPr>
        <p:blipFill rotWithShape="1">
          <a:blip r:embed="rId18">
            <a:extLst>
              <a:ext uri="{28A0092B-C50C-407E-A947-70E740481C1C}">
                <a14:useLocalDpi xmlns:a14="http://schemas.microsoft.com/office/drawing/2010/main" val="0"/>
              </a:ext>
            </a:extLst>
          </a:blip>
          <a:srcRect l="4477" t="4930" r="1037" b="7898"/>
          <a:stretch/>
        </p:blipFill>
        <p:spPr>
          <a:xfrm>
            <a:off x="2312903" y="4882252"/>
            <a:ext cx="1993987" cy="949021"/>
          </a:xfrm>
          <a:prstGeom prst="rect">
            <a:avLst/>
          </a:prstGeom>
          <a:ln>
            <a:noFill/>
          </a:ln>
        </p:spPr>
      </p:pic>
      <p:pic>
        <p:nvPicPr>
          <p:cNvPr id="2064" name="Picture 16">
            <a:extLst>
              <a:ext uri="{FF2B5EF4-FFF2-40B4-BE49-F238E27FC236}">
                <a16:creationId xmlns:a16="http://schemas.microsoft.com/office/drawing/2014/main" id="{4D0FE037-64BD-BC1D-99D3-97C822E77ADA}"/>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4870259" y="3904052"/>
            <a:ext cx="2155386" cy="117113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05" name="Picture 104">
            <a:extLst>
              <a:ext uri="{FF2B5EF4-FFF2-40B4-BE49-F238E27FC236}">
                <a16:creationId xmlns:a16="http://schemas.microsoft.com/office/drawing/2014/main" id="{F4AE1D94-5973-887E-8EC8-D7893B05B37F}"/>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639518" y="4948486"/>
            <a:ext cx="1518532" cy="582871"/>
          </a:xfrm>
          <a:prstGeom prst="rect">
            <a:avLst/>
          </a:prstGeom>
          <a:ln>
            <a:noFill/>
          </a:ln>
        </p:spPr>
      </p:pic>
      <p:pic>
        <p:nvPicPr>
          <p:cNvPr id="2066" name="Picture 18" descr="Fact Sheet | SHL Finance Company">
            <a:extLst>
              <a:ext uri="{FF2B5EF4-FFF2-40B4-BE49-F238E27FC236}">
                <a16:creationId xmlns:a16="http://schemas.microsoft.com/office/drawing/2014/main" id="{C16E2555-90F6-DBC7-05B0-3D6B74D78680}"/>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61118" y="3817203"/>
            <a:ext cx="1315167" cy="1015464"/>
          </a:xfrm>
          <a:prstGeom prst="rect">
            <a:avLst/>
          </a:prstGeom>
          <a:noFill/>
          <a:extLst>
            <a:ext uri="{909E8E84-426E-40DD-AFC4-6F175D3DCCD1}">
              <a14:hiddenFill xmlns:a14="http://schemas.microsoft.com/office/drawing/2010/main">
                <a:solidFill>
                  <a:srgbClr val="FFFFFF"/>
                </a:solidFill>
              </a14:hiddenFill>
            </a:ext>
          </a:extLst>
        </p:spPr>
      </p:pic>
      <p:pic>
        <p:nvPicPr>
          <p:cNvPr id="2068" name="Picture 20">
            <a:extLst>
              <a:ext uri="{FF2B5EF4-FFF2-40B4-BE49-F238E27FC236}">
                <a16:creationId xmlns:a16="http://schemas.microsoft.com/office/drawing/2014/main" id="{514E7EF2-E110-0C85-5432-A164A82BAEA1}"/>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3388272" y="3388492"/>
            <a:ext cx="1162576" cy="548994"/>
          </a:xfrm>
          <a:prstGeom prst="rect">
            <a:avLst/>
          </a:prstGeom>
          <a:noFill/>
          <a:extLst>
            <a:ext uri="{909E8E84-426E-40DD-AFC4-6F175D3DCCD1}">
              <a14:hiddenFill xmlns:a14="http://schemas.microsoft.com/office/drawing/2010/main">
                <a:solidFill>
                  <a:srgbClr val="FFFFFF"/>
                </a:solidFill>
              </a14:hiddenFill>
            </a:ext>
          </a:extLst>
        </p:spPr>
      </p:pic>
      <p:sp>
        <p:nvSpPr>
          <p:cNvPr id="3" name="AutoShape 2" descr="Logo">
            <a:extLst>
              <a:ext uri="{FF2B5EF4-FFF2-40B4-BE49-F238E27FC236}">
                <a16:creationId xmlns:a16="http://schemas.microsoft.com/office/drawing/2014/main" id="{E53EFA27-B89F-CA7E-0F3E-FC983D6F15C6}"/>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2" name="Picture 11" descr="A green circle with black text and blue and white logo&#10;&#10;Description automatically generated">
            <a:extLst>
              <a:ext uri="{FF2B5EF4-FFF2-40B4-BE49-F238E27FC236}">
                <a16:creationId xmlns:a16="http://schemas.microsoft.com/office/drawing/2014/main" id="{623F3A5A-AF25-55D9-65B4-9E58E9CAAF68}"/>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904369" y="1751794"/>
            <a:ext cx="923829" cy="923829"/>
          </a:xfrm>
          <a:prstGeom prst="rect">
            <a:avLst/>
          </a:prstGeom>
        </p:spPr>
      </p:pic>
      <p:pic>
        <p:nvPicPr>
          <p:cNvPr id="14" name="Graphic 13">
            <a:extLst>
              <a:ext uri="{FF2B5EF4-FFF2-40B4-BE49-F238E27FC236}">
                <a16:creationId xmlns:a16="http://schemas.microsoft.com/office/drawing/2014/main" id="{9B224125-5D53-6084-E918-58297F99D2B7}"/>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2765929" y="1252858"/>
            <a:ext cx="1598089" cy="581123"/>
          </a:xfrm>
          <a:prstGeom prst="rect">
            <a:avLst/>
          </a:prstGeom>
        </p:spPr>
      </p:pic>
      <p:pic>
        <p:nvPicPr>
          <p:cNvPr id="3076" name="Picture 4" descr="Tamweel Aloula Achieves Highest Annual ...">
            <a:extLst>
              <a:ext uri="{FF2B5EF4-FFF2-40B4-BE49-F238E27FC236}">
                <a16:creationId xmlns:a16="http://schemas.microsoft.com/office/drawing/2014/main" id="{2AEC7204-479C-9409-DDB4-AE8FA4A0D9B2}"/>
              </a:ext>
            </a:extLst>
          </p:cNvPr>
          <p:cNvPicPr>
            <a:picLocks noChangeAspect="1" noChangeArrowheads="1"/>
          </p:cNvPicPr>
          <p:nvPr/>
        </p:nvPicPr>
        <p:blipFill>
          <a:blip r:embed="rId27">
            <a:extLst>
              <a:ext uri="{BEBA8EAE-BF5A-486C-A8C5-ECC9F3942E4B}">
                <a14:imgProps xmlns:a14="http://schemas.microsoft.com/office/drawing/2010/main">
                  <a14:imgLayer r:embed="rId2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459912" y="2005572"/>
            <a:ext cx="1289506" cy="671704"/>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Al Rashed Group Jobs, Al Rashed Group ...">
            <a:extLst>
              <a:ext uri="{FF2B5EF4-FFF2-40B4-BE49-F238E27FC236}">
                <a16:creationId xmlns:a16="http://schemas.microsoft.com/office/drawing/2014/main" id="{2F2A47A3-D148-5837-072E-7CC18B029162}"/>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5120023" y="5789220"/>
            <a:ext cx="1951953" cy="613331"/>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79" name="x_x_x_Picture 60" descr="A close up of a logo&#10;&#10;Description generated with very high confidence">
            <a:extLst>
              <a:ext uri="{FF2B5EF4-FFF2-40B4-BE49-F238E27FC236}">
                <a16:creationId xmlns:a16="http://schemas.microsoft.com/office/drawing/2014/main" id="{D319EC85-1CF1-79EE-591D-A98A207A24C6}"/>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3963920" y="2193136"/>
            <a:ext cx="1708830" cy="621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3" name="Picture 11" descr="SalesFine | LinkedIn">
            <a:extLst>
              <a:ext uri="{FF2B5EF4-FFF2-40B4-BE49-F238E27FC236}">
                <a16:creationId xmlns:a16="http://schemas.microsoft.com/office/drawing/2014/main" id="{1973B103-EF9A-DAE9-8A4C-7DD33BEA8E0B}"/>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5029195" y="2807458"/>
            <a:ext cx="1094936" cy="109493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84" name="Picture 12" descr="A picture containing screenshot, font, graphics, logo&#10;&#10;Description automatically generated">
            <a:extLst>
              <a:ext uri="{FF2B5EF4-FFF2-40B4-BE49-F238E27FC236}">
                <a16:creationId xmlns:a16="http://schemas.microsoft.com/office/drawing/2014/main" id="{EFFBFECC-150F-8F15-6571-80815B53B9E9}"/>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3088712" y="4214909"/>
            <a:ext cx="1584325" cy="525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22">
            <a:extLst>
              <a:ext uri="{FF2B5EF4-FFF2-40B4-BE49-F238E27FC236}">
                <a16:creationId xmlns:a16="http://schemas.microsoft.com/office/drawing/2014/main" id="{C427C7F6-F412-EC12-7286-99E5FAAB92F7}"/>
              </a:ext>
            </a:extLst>
          </p:cNvPr>
          <p:cNvPicPr>
            <a:picLocks noChangeAspect="1"/>
          </p:cNvPicPr>
          <p:nvPr/>
        </p:nvPicPr>
        <p:blipFill>
          <a:blip r:embed="rId33"/>
          <a:stretch>
            <a:fillRect/>
          </a:stretch>
        </p:blipFill>
        <p:spPr>
          <a:xfrm>
            <a:off x="7479599" y="5891472"/>
            <a:ext cx="886838" cy="408826"/>
          </a:xfrm>
          <a:prstGeom prst="rect">
            <a:avLst/>
          </a:prstGeom>
        </p:spPr>
      </p:pic>
      <p:pic>
        <p:nvPicPr>
          <p:cNvPr id="3085" name="Picture 13">
            <a:extLst>
              <a:ext uri="{FF2B5EF4-FFF2-40B4-BE49-F238E27FC236}">
                <a16:creationId xmlns:a16="http://schemas.microsoft.com/office/drawing/2014/main" id="{48543F14-8F96-919E-BDA3-31675A076147}"/>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1594758" y="3459990"/>
            <a:ext cx="1315167" cy="33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7" name="Picture 15" descr="Ejada plans its expansion in KSA and ...">
            <a:extLst>
              <a:ext uri="{FF2B5EF4-FFF2-40B4-BE49-F238E27FC236}">
                <a16:creationId xmlns:a16="http://schemas.microsoft.com/office/drawing/2014/main" id="{6E7E999B-420A-B667-84F7-36086514D9F6}"/>
              </a:ext>
            </a:extLst>
          </p:cNvPr>
          <p:cNvPicPr>
            <a:picLocks noChangeAspect="1" noChangeArrowheads="1"/>
          </p:cNvPicPr>
          <p:nvPr/>
        </p:nvPicPr>
        <p:blipFill>
          <a:blip r:embed="rId35">
            <a:extLst>
              <a:ext uri="{BEBA8EAE-BF5A-486C-A8C5-ECC9F3942E4B}">
                <a14:imgProps xmlns:a14="http://schemas.microsoft.com/office/drawing/2010/main">
                  <a14:imgLayer r:embed="rId3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398179" y="5121785"/>
            <a:ext cx="1423804" cy="711902"/>
          </a:xfrm>
          <a:prstGeom prst="rect">
            <a:avLst/>
          </a:prstGeom>
          <a:noFill/>
          <a:extLst>
            <a:ext uri="{909E8E84-426E-40DD-AFC4-6F175D3DCCD1}">
              <a14:hiddenFill xmlns:a14="http://schemas.microsoft.com/office/drawing/2010/main">
                <a:solidFill>
                  <a:srgbClr val="FFFFFF"/>
                </a:solidFill>
              </a14:hiddenFill>
            </a:ext>
          </a:extLst>
        </p:spPr>
      </p:pic>
      <p:pic>
        <p:nvPicPr>
          <p:cNvPr id="3089" name="Picture 17" descr="shopping assistant, Tabby Shop ...">
            <a:extLst>
              <a:ext uri="{FF2B5EF4-FFF2-40B4-BE49-F238E27FC236}">
                <a16:creationId xmlns:a16="http://schemas.microsoft.com/office/drawing/2014/main" id="{E8DA3DDB-DE4F-BC73-87E8-0DAB0C4A8F84}"/>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3989732" y="5759493"/>
            <a:ext cx="1111976" cy="76320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C5A985B5-D918-631B-5319-C22798AF99C1}"/>
              </a:ext>
            </a:extLst>
          </p:cNvPr>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2252341" y="5723142"/>
            <a:ext cx="1111977" cy="764805"/>
          </a:xfrm>
          <a:prstGeom prst="rect">
            <a:avLst/>
          </a:prstGeom>
        </p:spPr>
      </p:pic>
      <p:pic>
        <p:nvPicPr>
          <p:cNvPr id="3091" name="Picture 19" descr="About Wadaie - Wadaie">
            <a:extLst>
              <a:ext uri="{FF2B5EF4-FFF2-40B4-BE49-F238E27FC236}">
                <a16:creationId xmlns:a16="http://schemas.microsoft.com/office/drawing/2014/main" id="{50CDCD4F-BA80-274E-A3B5-DD1D6B8D798B}"/>
              </a:ext>
            </a:extLst>
          </p:cNvPr>
          <p:cNvPicPr>
            <a:picLocks noChangeAspect="1" noChangeArrowheads="1"/>
          </p:cNvPicPr>
          <p:nvPr/>
        </p:nvPicPr>
        <p:blipFill>
          <a:blip r:embed="rId39">
            <a:extLst>
              <a:ext uri="{BEBA8EAE-BF5A-486C-A8C5-ECC9F3942E4B}">
                <a14:imgProps xmlns:a14="http://schemas.microsoft.com/office/drawing/2010/main">
                  <a14:imgLayer r:embed="rId40">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914126" y="289046"/>
            <a:ext cx="1377306" cy="5524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31569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21" name="Picture 120">
            <a:extLst>
              <a:ext uri="{FF2B5EF4-FFF2-40B4-BE49-F238E27FC236}">
                <a16:creationId xmlns:a16="http://schemas.microsoft.com/office/drawing/2014/main" id="{F225DAEA-B65F-B3BE-2F94-560BD2571A24}"/>
              </a:ext>
            </a:extLst>
          </p:cNvPr>
          <p:cNvPicPr>
            <a:picLocks noChangeAspect="1"/>
          </p:cNvPicPr>
          <p:nvPr/>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72867" y="155512"/>
            <a:ext cx="3659188" cy="1508029"/>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5986" y="1351392"/>
            <a:ext cx="2280629" cy="1248927"/>
            <a:chOff x="-17082" y="-438924"/>
            <a:chExt cx="2696266" cy="1776251"/>
          </a:xfrm>
        </p:grpSpPr>
        <p:sp>
          <p:nvSpPr>
            <p:cNvPr id="133" name="TextBox 5">
              <a:extLst>
                <a:ext uri="{FF2B5EF4-FFF2-40B4-BE49-F238E27FC236}">
                  <a16:creationId xmlns:a16="http://schemas.microsoft.com/office/drawing/2014/main" id="{766C6454-A9E1-8C20-5F67-F61D5F965F36}"/>
                </a:ext>
              </a:extLst>
            </p:cNvPr>
            <p:cNvSpPr txBox="1"/>
            <p:nvPr/>
          </p:nvSpPr>
          <p:spPr>
            <a:xfrm>
              <a:off x="-17082" y="-43892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Service Providers</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104" name="Picture 103">
            <a:extLst>
              <a:ext uri="{FF2B5EF4-FFF2-40B4-BE49-F238E27FC236}">
                <a16:creationId xmlns:a16="http://schemas.microsoft.com/office/drawing/2014/main" id="{67343EE6-FF34-67D6-B1E2-51F4914E1809}"/>
              </a:ext>
            </a:extLst>
          </p:cNvPr>
          <p:cNvPicPr>
            <a:picLocks noChangeAspect="1"/>
          </p:cNvPicPr>
          <p:nvPr/>
        </p:nvPicPr>
        <p:blipFill>
          <a:blip r:embed="rId5" cstate="print">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4664102" y="103247"/>
            <a:ext cx="3986426" cy="1153479"/>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7" name="Picture 6">
            <a:extLst>
              <a:ext uri="{FF2B5EF4-FFF2-40B4-BE49-F238E27FC236}">
                <a16:creationId xmlns:a16="http://schemas.microsoft.com/office/drawing/2014/main" id="{289D5CA8-FB42-5EF6-0739-534867BDC31D}"/>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6867063" y="1209730"/>
            <a:ext cx="1838642" cy="2047542"/>
          </a:xfrm>
          <a:prstGeom prst="rect">
            <a:avLst/>
          </a:prstGeom>
        </p:spPr>
      </p:pic>
      <p:pic>
        <p:nvPicPr>
          <p:cNvPr id="14" name="Picture 13">
            <a:extLst>
              <a:ext uri="{FF2B5EF4-FFF2-40B4-BE49-F238E27FC236}">
                <a16:creationId xmlns:a16="http://schemas.microsoft.com/office/drawing/2014/main" id="{875448FF-FBE3-1DC2-26F8-61F07CC81691}"/>
              </a:ext>
            </a:extLst>
          </p:cNvPr>
          <p:cNvPicPr>
            <a:picLocks noChangeAspect="1"/>
          </p:cNvPicPr>
          <p:nvPr/>
        </p:nvPicPr>
        <p:blipFill>
          <a:blip r:embed="rId8" cstate="print">
            <a:extLst>
              <a:ext uri="{BEBA8EAE-BF5A-486C-A8C5-ECC9F3942E4B}">
                <a14:imgProps xmlns:a14="http://schemas.microsoft.com/office/drawing/2010/main">
                  <a14:imgLayer r:embed="rId9">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148233" y="1273345"/>
            <a:ext cx="2305591" cy="1508029"/>
          </a:xfrm>
          <a:prstGeom prst="rect">
            <a:avLst/>
          </a:prstGeom>
        </p:spPr>
      </p:pic>
      <p:pic>
        <p:nvPicPr>
          <p:cNvPr id="4098" name="Picture 2" descr="Multinet Case Study Design - Intellicon">
            <a:extLst>
              <a:ext uri="{FF2B5EF4-FFF2-40B4-BE49-F238E27FC236}">
                <a16:creationId xmlns:a16="http://schemas.microsoft.com/office/drawing/2014/main" id="{AAA90AD3-A0E5-4142-A976-A54D0118466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0467" y="3119187"/>
            <a:ext cx="4113123" cy="2467874"/>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Sahara Net - Wikipedia">
            <a:extLst>
              <a:ext uri="{FF2B5EF4-FFF2-40B4-BE49-F238E27FC236}">
                <a16:creationId xmlns:a16="http://schemas.microsoft.com/office/drawing/2014/main" id="{219E52A0-C5A9-85CB-26A2-714DD00157BC}"/>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398817" y="4284356"/>
            <a:ext cx="3141358" cy="1092136"/>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a:extLst>
              <a:ext uri="{FF2B5EF4-FFF2-40B4-BE49-F238E27FC236}">
                <a16:creationId xmlns:a16="http://schemas.microsoft.com/office/drawing/2014/main" id="{AB82831E-1841-6A35-AC08-85053A537001}"/>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600731" y="1526496"/>
            <a:ext cx="2262648" cy="1284768"/>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DEMIA Extends its Commitment to the Kingdom of Saudi Arabia with the  Acquisition of PCARD | HIMAYA">
            <a:extLst>
              <a:ext uri="{FF2B5EF4-FFF2-40B4-BE49-F238E27FC236}">
                <a16:creationId xmlns:a16="http://schemas.microsoft.com/office/drawing/2014/main" id="{9D415DD8-87FA-ED2D-4247-1A7D879AF7C3}"/>
              </a:ext>
            </a:extLst>
          </p:cNvPr>
          <p:cNvPicPr>
            <a:picLocks noChangeAspect="1" noChangeArrowheads="1"/>
          </p:cNvPicPr>
          <p:nvPr/>
        </p:nvPicPr>
        <p:blipFill>
          <a:blip r:embed="rId15">
            <a:extLst>
              <a:ext uri="{BEBA8EAE-BF5A-486C-A8C5-ECC9F3942E4B}">
                <a14:imgProps xmlns:a14="http://schemas.microsoft.com/office/drawing/2010/main">
                  <a14:imgLayer r:embed="rId1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285999" y="4960467"/>
            <a:ext cx="2892112" cy="1446056"/>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iNet | LinkedIn">
            <a:extLst>
              <a:ext uri="{FF2B5EF4-FFF2-40B4-BE49-F238E27FC236}">
                <a16:creationId xmlns:a16="http://schemas.microsoft.com/office/drawing/2014/main" id="{A71AC966-4899-E75C-F54A-1E4482AA5965}"/>
              </a:ext>
            </a:extLst>
          </p:cNvPr>
          <p:cNvPicPr>
            <a:picLocks noChangeAspect="1" noChangeArrowheads="1"/>
          </p:cNvPicPr>
          <p:nvPr/>
        </p:nvPicPr>
        <p:blipFill>
          <a:blip r:embed="rId17">
            <a:extLst>
              <a:ext uri="{BEBA8EAE-BF5A-486C-A8C5-ECC9F3942E4B}">
                <a14:imgProps xmlns:a14="http://schemas.microsoft.com/office/drawing/2010/main">
                  <a14:imgLayer r:embed="rId1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096766" y="2891859"/>
            <a:ext cx="1392497" cy="139249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8153FFD7-EF71-6106-2FB9-F311828F54C3}"/>
              </a:ext>
            </a:extLst>
          </p:cNvPr>
          <p:cNvPicPr>
            <a:picLocks noChangeAspect="1"/>
          </p:cNvPicPr>
          <p:nvPr/>
        </p:nvPicPr>
        <p:blipFill>
          <a:blip r:embed="rId19">
            <a:extLst>
              <a:ext uri="{BEBA8EAE-BF5A-486C-A8C5-ECC9F3942E4B}">
                <a14:imgProps xmlns:a14="http://schemas.microsoft.com/office/drawing/2010/main">
                  <a14:imgLayer r:embed="rId20">
                    <a14:imgEffect>
                      <a14:backgroundRemoval t="10000" b="90000" l="10000" r="90000"/>
                    </a14:imgEffect>
                  </a14:imgLayer>
                </a14:imgProps>
              </a:ext>
            </a:extLst>
          </a:blip>
          <a:stretch>
            <a:fillRect/>
          </a:stretch>
        </p:blipFill>
        <p:spPr>
          <a:xfrm>
            <a:off x="5945416" y="3207054"/>
            <a:ext cx="2048161" cy="762106"/>
          </a:xfrm>
          <a:prstGeom prst="rect">
            <a:avLst/>
          </a:prstGeom>
        </p:spPr>
      </p:pic>
      <p:pic>
        <p:nvPicPr>
          <p:cNvPr id="2052" name="Picture 4">
            <a:extLst>
              <a:ext uri="{FF2B5EF4-FFF2-40B4-BE49-F238E27FC236}">
                <a16:creationId xmlns:a16="http://schemas.microsoft.com/office/drawing/2014/main" id="{36ABF911-0848-C74C-8F33-EAAD289D71F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241190" y="5994742"/>
            <a:ext cx="4332803" cy="42199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F298EDA7-A049-7963-7313-70907C443574}"/>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793725" y="2859550"/>
            <a:ext cx="2262648" cy="84904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1B8F4DB3-DCF7-55AA-0A59-1867C1FB38EE}"/>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Lst>
          </a:blip>
          <a:stretch>
            <a:fillRect/>
          </a:stretch>
        </p:blipFill>
        <p:spPr>
          <a:xfrm>
            <a:off x="5058824" y="1643183"/>
            <a:ext cx="2353003" cy="800212"/>
          </a:xfrm>
          <a:prstGeom prst="rect">
            <a:avLst/>
          </a:prstGeom>
        </p:spPr>
      </p:pic>
      <p:pic>
        <p:nvPicPr>
          <p:cNvPr id="2056" name="Picture 8" descr="Mozn | LinkedIn">
            <a:extLst>
              <a:ext uri="{FF2B5EF4-FFF2-40B4-BE49-F238E27FC236}">
                <a16:creationId xmlns:a16="http://schemas.microsoft.com/office/drawing/2014/main" id="{C4BCFA5E-54D2-EACC-C071-270DC56C364A}"/>
              </a:ext>
            </a:extLst>
          </p:cNvPr>
          <p:cNvPicPr>
            <a:picLocks noChangeAspect="1" noChangeArrowheads="1"/>
          </p:cNvPicPr>
          <p:nvPr/>
        </p:nvPicPr>
        <p:blipFill>
          <a:blip r:embed="rId25">
            <a:extLst>
              <a:ext uri="{BEBA8EAE-BF5A-486C-A8C5-ECC9F3942E4B}">
                <a14:imgProps xmlns:a14="http://schemas.microsoft.com/office/drawing/2010/main">
                  <a14:imgLayer r:embed="rId2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92070" y="4851307"/>
            <a:ext cx="1252292" cy="12522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46903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 name="TextBox 7">
            <a:extLst>
              <a:ext uri="{FF2B5EF4-FFF2-40B4-BE49-F238E27FC236}">
                <a16:creationId xmlns:a16="http://schemas.microsoft.com/office/drawing/2014/main" id="{E9A01113-3042-B3DC-33C8-AB3B0A4459A9}"/>
              </a:ext>
            </a:extLst>
          </p:cNvPr>
          <p:cNvSpPr txBox="1"/>
          <p:nvPr/>
        </p:nvSpPr>
        <p:spPr>
          <a:xfrm>
            <a:off x="3986485" y="1105634"/>
            <a:ext cx="7347365" cy="830356"/>
          </a:xfrm>
          <a:prstGeom prst="rect">
            <a:avLst/>
          </a:prstGeom>
        </p:spPr>
        <p:txBody>
          <a:bodyPr lIns="0" tIns="0" rIns="0" bIns="0" rtlCol="0" anchor="t">
            <a:spAutoFit/>
          </a:bodyPr>
          <a:lstStyle/>
          <a:p>
            <a:pPr marL="0" marR="0" lvl="0" indent="0" algn="just" defTabSz="857250" rtl="0" eaLnBrk="1" fontAlgn="auto" latinLnBrk="0" hangingPunct="1">
              <a:lnSpc>
                <a:spcPts val="1575"/>
              </a:lnSpc>
              <a:spcBef>
                <a:spcPts val="0"/>
              </a:spcBef>
              <a:spcAft>
                <a:spcPts val="0"/>
              </a:spcAft>
              <a:buClrTx/>
              <a:buSzTx/>
              <a:buFontTx/>
              <a:buNone/>
              <a:tabLst/>
              <a:defRPr/>
            </a:pP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During the Financial sector conference, held on 15th March 2023 in Riyadh Saudi Arabia, Fintech Saudi | </a:t>
            </a:r>
            <a:r>
              <a:rPr kumimoji="0" lang="ar-AE"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فنتك السعودية </a:t>
            </a: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 and GRC 360 signed a memorandum of understanding to extend discounted packages to fintech companies in KSA.</a:t>
            </a: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86485" y="425115"/>
            <a:ext cx="7860884" cy="1719089"/>
            <a:chOff x="47672" y="-375132"/>
            <a:chExt cx="6884700" cy="2444926"/>
          </a:xfrm>
        </p:grpSpPr>
        <p:sp>
          <p:nvSpPr>
            <p:cNvPr id="9" name="TextBox 6">
              <a:extLst>
                <a:ext uri="{FF2B5EF4-FFF2-40B4-BE49-F238E27FC236}">
                  <a16:creationId xmlns:a16="http://schemas.microsoft.com/office/drawing/2014/main" id="{4810DB82-4723-AD07-2ED0-BB8017DA18AE}"/>
                </a:ext>
              </a:extLst>
            </p:cNvPr>
            <p:cNvSpPr txBox="1"/>
            <p:nvPr/>
          </p:nvSpPr>
          <p:spPr>
            <a:xfrm>
              <a:off x="47673" y="-375132"/>
              <a:ext cx="6884699" cy="788912"/>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mj-lt"/>
                  <a:ea typeface="+mn-ea"/>
                  <a:cs typeface="Calibri" panose="020F0502020204030204" pitchFamily="34" charset="0"/>
                </a:rPr>
                <a:t>MOU SIGNING WITH FINTECH SAUDI  </a:t>
              </a:r>
              <a:endParaRPr kumimoji="0" lang="en-US" sz="4800" b="1" i="0" u="none" strike="noStrike" kern="1200" cap="none" spc="-45" normalizeH="0" baseline="0" noProof="0">
                <a:ln>
                  <a:noFill/>
                </a:ln>
                <a:solidFill>
                  <a:srgbClr val="20212A"/>
                </a:solidFill>
                <a:effectLst/>
                <a:uLnTx/>
                <a:uFillTx/>
                <a:latin typeface="+mj-lt"/>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47672" y="1920781"/>
              <a:ext cx="677333" cy="149013"/>
            </a:xfrm>
            <a:prstGeom prst="rect">
              <a:avLst/>
            </a:prstGeom>
            <a:solidFill>
              <a:srgbClr val="CCB76A"/>
            </a:solidFill>
          </p:spPr>
          <p:txBody>
            <a:bodyPr/>
            <a:lstStyle/>
            <a:p>
              <a:endParaRPr lang="en-US"/>
            </a:p>
          </p:txBody>
        </p:sp>
      </p:grpSp>
      <p:pic>
        <p:nvPicPr>
          <p:cNvPr id="6146" name="Picture 2" descr="No alternative text description for this image">
            <a:extLst>
              <a:ext uri="{FF2B5EF4-FFF2-40B4-BE49-F238E27FC236}">
                <a16:creationId xmlns:a16="http://schemas.microsoft.com/office/drawing/2014/main" id="{75ACD088-8283-6752-B06A-5DD0C4892BB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09897" y="2246633"/>
            <a:ext cx="5963196" cy="397423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78858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211772"/>
            <a:ext cx="12192000" cy="1619250"/>
          </a:xfrm>
          <a:solidFill>
            <a:schemeClr val="tx1"/>
          </a:solidFill>
        </p:spPr>
        <p:txBody>
          <a:bodyPr>
            <a:normAutofit/>
          </a:bodyPr>
          <a:lstStyle/>
          <a:p>
            <a:pPr indent="738188"/>
            <a:r>
              <a:rPr lang="en-US" sz="4000" b="1">
                <a:solidFill>
                  <a:schemeClr val="bg1"/>
                </a:solidFill>
                <a:cs typeface="Calibri" panose="020F0502020204030204" pitchFamily="34" charset="0"/>
              </a:rPr>
              <a:t>OUR COMPETITIVE ADVANTAGE</a:t>
            </a:r>
            <a:endParaRPr lang="en-GB" sz="4000" b="1">
              <a:solidFill>
                <a:schemeClr val="bg1"/>
              </a:solidFill>
              <a:cs typeface="Calibri" panose="020F0502020204030204" pitchFamily="34" charset="0"/>
            </a:endParaRPr>
          </a:p>
        </p:txBody>
      </p:sp>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Rectangle 159">
            <a:extLst>
              <a:ext uri="{FF2B5EF4-FFF2-40B4-BE49-F238E27FC236}">
                <a16:creationId xmlns:a16="http://schemas.microsoft.com/office/drawing/2014/main" id="{A5BF568A-91BF-6999-F02A-AEA839EB9A38}"/>
              </a:ext>
            </a:extLst>
          </p:cNvPr>
          <p:cNvSpPr txBox="1"/>
          <p:nvPr/>
        </p:nvSpPr>
        <p:spPr>
          <a:xfrm>
            <a:off x="1776910" y="4515464"/>
            <a:ext cx="1511485" cy="118494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defPPr>
              <a:defRPr lang="en-US"/>
            </a:defPPr>
            <a:lvl1pPr algn="ctr" defTabSz="685800">
              <a:lnSpc>
                <a:spcPct val="100000"/>
              </a:lnSpc>
              <a:defRPr sz="1000">
                <a:solidFill>
                  <a:prstClr val="black"/>
                </a:solidFill>
                <a:latin typeface="Arial"/>
                <a:ea typeface="Arial"/>
                <a:cs typeface="Arial" panose="020B0604020202020204" pitchFamily="34" charset="0"/>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GRC360</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will be mobilizing exceptionally talented</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 Cyber Security</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professionals, leveraging industry knowledge and international best practices. </a:t>
            </a:r>
          </a:p>
        </p:txBody>
      </p:sp>
      <p:sp>
        <p:nvSpPr>
          <p:cNvPr id="22" name="TextBox 21">
            <a:extLst>
              <a:ext uri="{FF2B5EF4-FFF2-40B4-BE49-F238E27FC236}">
                <a16:creationId xmlns:a16="http://schemas.microsoft.com/office/drawing/2014/main" id="{89582F0E-CB6E-21F0-6707-26586B48086E}"/>
              </a:ext>
            </a:extLst>
          </p:cNvPr>
          <p:cNvSpPr txBox="1"/>
          <p:nvPr/>
        </p:nvSpPr>
        <p:spPr>
          <a:xfrm>
            <a:off x="647261" y="1757762"/>
            <a:ext cx="10801062" cy="584775"/>
          </a:xfrm>
          <a:prstGeom prst="rect">
            <a:avLst/>
          </a:prstGeom>
          <a:noFill/>
        </p:spPr>
        <p:txBody>
          <a:bodyPr wrap="square" rtlCol="0">
            <a:spAutoFit/>
          </a:bodyPr>
          <a:lstStyle/>
          <a:p>
            <a:pPr marL="0" marR="0" lvl="0" indent="0" algn="just" defTabSz="266700" rtl="0" eaLnBrk="1" fontAlgn="auto" latinLnBrk="0" hangingPunct="1">
              <a:lnSpc>
                <a:spcPct val="100000"/>
              </a:lnSpc>
              <a:spcBef>
                <a:spcPts val="450"/>
              </a:spcBef>
              <a:spcAft>
                <a:spcPts val="0"/>
              </a:spcAft>
              <a:buClrTx/>
              <a:buSzTx/>
              <a:buFontTx/>
              <a:buNone/>
              <a:tabLst/>
              <a:defRPr sz="1500">
                <a:latin typeface="Arial"/>
                <a:ea typeface="Arial"/>
                <a:cs typeface="Arial"/>
                <a:sym typeface="Arial"/>
              </a:defRPr>
            </a:pPr>
            <a:r>
              <a:rPr kumimoji="0" lang="en-US" sz="1600" b="0" i="0" u="none" strike="noStrike" kern="1200" cap="none" spc="0" normalizeH="0" baseline="0" noProof="0">
                <a:ln>
                  <a:noFill/>
                </a:ln>
                <a:solidFill>
                  <a:prstClr val="black"/>
                </a:solidFill>
                <a:effectLst/>
                <a:uLnTx/>
                <a:uFillTx/>
                <a:latin typeface="Calibri"/>
                <a:ea typeface="Arial"/>
                <a:cs typeface="Sakkal Majalla" panose="02000000000000000000" pitchFamily="2" charset="-78"/>
                <a:sym typeface="Arial"/>
              </a:rPr>
              <a:t>GRC360 is pleased to submit this proposal </a:t>
            </a:r>
            <a:r>
              <a:rPr kumimoji="0" lang="en-US" sz="1600" b="0" i="0" u="none" strike="noStrike" kern="1200" cap="none" spc="0" normalizeH="0" baseline="0" noProof="0">
                <a:ln>
                  <a:noFill/>
                </a:ln>
                <a:solidFill>
                  <a:prstClr val="black"/>
                </a:solidFill>
                <a:effectLst/>
                <a:uLnTx/>
                <a:uFillTx/>
                <a:latin typeface="Calibri"/>
                <a:cs typeface="Sakkal Majalla" panose="02000000000000000000" pitchFamily="2" charset="-78"/>
                <a:sym typeface="Arial"/>
              </a:rPr>
              <a:t>to enable Client to achieve its objectives. Following are some of our salient features / unique value proposition:</a:t>
            </a:r>
          </a:p>
        </p:txBody>
      </p:sp>
      <p:sp>
        <p:nvSpPr>
          <p:cNvPr id="23" name="Rectangle 159">
            <a:extLst>
              <a:ext uri="{FF2B5EF4-FFF2-40B4-BE49-F238E27FC236}">
                <a16:creationId xmlns:a16="http://schemas.microsoft.com/office/drawing/2014/main" id="{950B25CB-51FF-59E2-13CE-1F6DEEE6B2BB}"/>
              </a:ext>
            </a:extLst>
          </p:cNvPr>
          <p:cNvSpPr txBox="1"/>
          <p:nvPr/>
        </p:nvSpPr>
        <p:spPr>
          <a:xfrm>
            <a:off x="3491698" y="4515464"/>
            <a:ext cx="1421326" cy="152349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GRC360 is providing top notch Cyber Security services. We have worked on similar assignments at various organizations in the kingdom. Therefore, we are confident to add-value to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 </a:t>
            </a:r>
          </a:p>
        </p:txBody>
      </p:sp>
      <p:sp>
        <p:nvSpPr>
          <p:cNvPr id="24" name="Rectangle 159">
            <a:extLst>
              <a:ext uri="{FF2B5EF4-FFF2-40B4-BE49-F238E27FC236}">
                <a16:creationId xmlns:a16="http://schemas.microsoft.com/office/drawing/2014/main" id="{25670AAB-F3A3-503D-380E-4EC8EBAF87D0}"/>
              </a:ext>
            </a:extLst>
          </p:cNvPr>
          <p:cNvSpPr txBox="1"/>
          <p:nvPr/>
        </p:nvSpPr>
        <p:spPr>
          <a:xfrm>
            <a:off x="5178778" y="4515464"/>
            <a:ext cx="1511485" cy="186204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GRC360 views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1" i="0" u="none" strike="noStrike" kern="1200" cap="none" spc="0" normalizeH="0" baseline="0" noProof="0">
                <a:ln>
                  <a:noFill/>
                </a:ln>
                <a:solidFill>
                  <a:prstClr val="black"/>
                </a:solidFill>
                <a:effectLst/>
                <a:uLnTx/>
                <a:uFillTx/>
                <a:latin typeface="Calibri"/>
                <a:cs typeface="Arial" panose="020B0604020202020204" pitchFamily="34" charset="0"/>
                <a:sym typeface="Arial"/>
              </a:rPr>
              <a:t> </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as its one of its strategic and prestigious client in the region. Considering this strategic importance, Senior Management of GRC360 is committed to provide its best resources and attention to ensure successful completion of the engagement. </a:t>
            </a:r>
          </a:p>
        </p:txBody>
      </p:sp>
      <p:sp>
        <p:nvSpPr>
          <p:cNvPr id="25" name="Rectangle 159">
            <a:extLst>
              <a:ext uri="{FF2B5EF4-FFF2-40B4-BE49-F238E27FC236}">
                <a16:creationId xmlns:a16="http://schemas.microsoft.com/office/drawing/2014/main" id="{9234498D-51B6-0EE5-A9D2-7BEE273A3511}"/>
              </a:ext>
            </a:extLst>
          </p:cNvPr>
          <p:cNvSpPr txBox="1"/>
          <p:nvPr/>
        </p:nvSpPr>
        <p:spPr>
          <a:xfrm>
            <a:off x="6911028" y="4482500"/>
            <a:ext cx="1458714" cy="50783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We maintain complete independence in our engagements. </a:t>
            </a:r>
          </a:p>
        </p:txBody>
      </p:sp>
      <p:sp>
        <p:nvSpPr>
          <p:cNvPr id="26" name="Rectangle 159">
            <a:extLst>
              <a:ext uri="{FF2B5EF4-FFF2-40B4-BE49-F238E27FC236}">
                <a16:creationId xmlns:a16="http://schemas.microsoft.com/office/drawing/2014/main" id="{4FAAE328-D0C7-90B7-D0DF-9344B320FE4A}"/>
              </a:ext>
            </a:extLst>
          </p:cNvPr>
          <p:cNvSpPr txBox="1"/>
          <p:nvPr/>
        </p:nvSpPr>
        <p:spPr>
          <a:xfrm>
            <a:off x="8550537" y="4485204"/>
            <a:ext cx="1458714" cy="186204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Outstanding services at a cost-effective fee. We optimize our fee by assigning experts and actively involving your team to synergize, avoid duplication. Also, we have heavily discounted our fee to start and cherish our relationship with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a:t>
            </a:r>
          </a:p>
        </p:txBody>
      </p:sp>
      <p:grpSp>
        <p:nvGrpSpPr>
          <p:cNvPr id="36" name="Group 35">
            <a:extLst>
              <a:ext uri="{FF2B5EF4-FFF2-40B4-BE49-F238E27FC236}">
                <a16:creationId xmlns:a16="http://schemas.microsoft.com/office/drawing/2014/main" id="{7443D5F0-CF11-DA4C-4320-584064FDB7B4}"/>
              </a:ext>
            </a:extLst>
          </p:cNvPr>
          <p:cNvGrpSpPr/>
          <p:nvPr/>
        </p:nvGrpSpPr>
        <p:grpSpPr>
          <a:xfrm>
            <a:off x="1556792" y="2427744"/>
            <a:ext cx="8635071" cy="1920240"/>
            <a:chOff x="1778464" y="3089565"/>
            <a:chExt cx="8635071" cy="1846659"/>
          </a:xfrm>
        </p:grpSpPr>
        <p:sp>
          <p:nvSpPr>
            <p:cNvPr id="3" name="Rectangle 2">
              <a:extLst>
                <a:ext uri="{FF2B5EF4-FFF2-40B4-BE49-F238E27FC236}">
                  <a16:creationId xmlns:a16="http://schemas.microsoft.com/office/drawing/2014/main" id="{8D434D2F-B102-0C22-F81E-AC2E3A47B9A7}"/>
                </a:ext>
              </a:extLst>
            </p:cNvPr>
            <p:cNvSpPr/>
            <p:nvPr/>
          </p:nvSpPr>
          <p:spPr>
            <a:xfrm>
              <a:off x="2150374" y="4106806"/>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Experienced Resources</a:t>
              </a:r>
            </a:p>
          </p:txBody>
        </p:sp>
        <p:grpSp>
          <p:nvGrpSpPr>
            <p:cNvPr id="7" name="Group 6">
              <a:extLst>
                <a:ext uri="{FF2B5EF4-FFF2-40B4-BE49-F238E27FC236}">
                  <a16:creationId xmlns:a16="http://schemas.microsoft.com/office/drawing/2014/main" id="{A9A31C48-F7D0-B930-74BC-8CF600658E33}"/>
                </a:ext>
              </a:extLst>
            </p:cNvPr>
            <p:cNvGrpSpPr/>
            <p:nvPr/>
          </p:nvGrpSpPr>
          <p:grpSpPr>
            <a:xfrm>
              <a:off x="1778464" y="3089565"/>
              <a:ext cx="8635071" cy="1846659"/>
              <a:chOff x="1551043" y="3112972"/>
              <a:chExt cx="9093168" cy="1971477"/>
            </a:xfrm>
          </p:grpSpPr>
          <p:sp>
            <p:nvSpPr>
              <p:cNvPr id="8" name="Freeform 6">
                <a:extLst>
                  <a:ext uri="{FF2B5EF4-FFF2-40B4-BE49-F238E27FC236}">
                    <a16:creationId xmlns:a16="http://schemas.microsoft.com/office/drawing/2014/main" id="{239492FF-6A4B-01DB-CB11-D770078A763F}"/>
                  </a:ext>
                </a:extLst>
              </p:cNvPr>
              <p:cNvSpPr/>
              <p:nvPr/>
            </p:nvSpPr>
            <p:spPr>
              <a:xfrm>
                <a:off x="15510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9" name="Freeform 7">
                <a:extLst>
                  <a:ext uri="{FF2B5EF4-FFF2-40B4-BE49-F238E27FC236}">
                    <a16:creationId xmlns:a16="http://schemas.microsoft.com/office/drawing/2014/main" id="{5B084388-CE0B-EC1D-E2F6-6B00C544D706}"/>
                  </a:ext>
                </a:extLst>
              </p:cNvPr>
              <p:cNvSpPr/>
              <p:nvPr/>
            </p:nvSpPr>
            <p:spPr>
              <a:xfrm>
                <a:off x="5085325"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0" name="Freeform 8">
                <a:extLst>
                  <a:ext uri="{FF2B5EF4-FFF2-40B4-BE49-F238E27FC236}">
                    <a16:creationId xmlns:a16="http://schemas.microsoft.com/office/drawing/2014/main" id="{077B892F-B83A-97C0-CEB9-6B23037AB131}"/>
                  </a:ext>
                </a:extLst>
              </p:cNvPr>
              <p:cNvSpPr/>
              <p:nvPr/>
            </p:nvSpPr>
            <p:spPr>
              <a:xfrm flipV="1">
                <a:off x="3322217"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1" name="Freeform 9">
                <a:extLst>
                  <a:ext uri="{FF2B5EF4-FFF2-40B4-BE49-F238E27FC236}">
                    <a16:creationId xmlns:a16="http://schemas.microsoft.com/office/drawing/2014/main" id="{E50FCDEA-6B88-00C0-8E22-83B8631C8FB6}"/>
                  </a:ext>
                </a:extLst>
              </p:cNvPr>
              <p:cNvSpPr/>
              <p:nvPr/>
            </p:nvSpPr>
            <p:spPr>
              <a:xfrm>
                <a:off x="862286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2" name="Freeform 10">
                <a:extLst>
                  <a:ext uri="{FF2B5EF4-FFF2-40B4-BE49-F238E27FC236}">
                    <a16:creationId xmlns:a16="http://schemas.microsoft.com/office/drawing/2014/main" id="{C5DB6E4E-8DEC-CD19-F7DB-69879886C11B}"/>
                  </a:ext>
                </a:extLst>
              </p:cNvPr>
              <p:cNvSpPr/>
              <p:nvPr/>
            </p:nvSpPr>
            <p:spPr>
              <a:xfrm flipV="1">
                <a:off x="6848432"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3" name="Freeform 11">
                <a:extLst>
                  <a:ext uri="{FF2B5EF4-FFF2-40B4-BE49-F238E27FC236}">
                    <a16:creationId xmlns:a16="http://schemas.microsoft.com/office/drawing/2014/main" id="{5EC593A4-CCE3-C9AA-09D3-0667BB4A1109}"/>
                  </a:ext>
                </a:extLst>
              </p:cNvPr>
              <p:cNvSpPr/>
              <p:nvPr/>
            </p:nvSpPr>
            <p:spPr>
              <a:xfrm>
                <a:off x="33238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a:ln>
                      <a:noFill/>
                    </a:ln>
                    <a:solidFill>
                      <a:srgbClr val="FFFFFF"/>
                    </a:solidFill>
                    <a:effectLst/>
                    <a:uLnTx/>
                    <a:uFillTx/>
                    <a:latin typeface="Calibri"/>
                    <a:ea typeface="+mn-ea"/>
                    <a:cs typeface="Arial"/>
                  </a:rPr>
                  <a:t>0</a:t>
                </a: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4" name="Freeform 12">
                <a:extLst>
                  <a:ext uri="{FF2B5EF4-FFF2-40B4-BE49-F238E27FC236}">
                    <a16:creationId xmlns:a16="http://schemas.microsoft.com/office/drawing/2014/main" id="{4863EAA2-9C5E-8978-A582-25761D3D8459}"/>
                  </a:ext>
                </a:extLst>
              </p:cNvPr>
              <p:cNvSpPr/>
              <p:nvPr/>
            </p:nvSpPr>
            <p:spPr>
              <a:xfrm flipV="1">
                <a:off x="1553450" y="3112972"/>
                <a:ext cx="2021351" cy="985740"/>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5" name="Freeform 13">
                <a:extLst>
                  <a:ext uri="{FF2B5EF4-FFF2-40B4-BE49-F238E27FC236}">
                    <a16:creationId xmlns:a16="http://schemas.microsoft.com/office/drawing/2014/main" id="{4B3B5763-F076-F58C-FD0E-095D8A214D77}"/>
                  </a:ext>
                </a:extLst>
              </p:cNvPr>
              <p:cNvSpPr/>
              <p:nvPr/>
            </p:nvSpPr>
            <p:spPr>
              <a:xfrm>
                <a:off x="685427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6" name="Freeform 19">
                <a:extLst>
                  <a:ext uri="{FF2B5EF4-FFF2-40B4-BE49-F238E27FC236}">
                    <a16:creationId xmlns:a16="http://schemas.microsoft.com/office/drawing/2014/main" id="{63F475CB-BC66-3570-4A1C-15E0448ADFCD}"/>
                  </a:ext>
                </a:extLst>
              </p:cNvPr>
              <p:cNvSpPr/>
              <p:nvPr/>
            </p:nvSpPr>
            <p:spPr>
              <a:xfrm flipV="1">
                <a:off x="5088221"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7" name="Freeform 20">
                <a:extLst>
                  <a:ext uri="{FF2B5EF4-FFF2-40B4-BE49-F238E27FC236}">
                    <a16:creationId xmlns:a16="http://schemas.microsoft.com/office/drawing/2014/main" id="{72C07702-D4A1-7306-E78C-8F958602A232}"/>
                  </a:ext>
                </a:extLst>
              </p:cNvPr>
              <p:cNvSpPr/>
              <p:nvPr/>
            </p:nvSpPr>
            <p:spPr>
              <a:xfrm flipV="1">
                <a:off x="8620228"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grpSp>
        <p:sp>
          <p:nvSpPr>
            <p:cNvPr id="18" name="Rectangle 17">
              <a:extLst>
                <a:ext uri="{FF2B5EF4-FFF2-40B4-BE49-F238E27FC236}">
                  <a16:creationId xmlns:a16="http://schemas.microsoft.com/office/drawing/2014/main" id="{49AA4908-4617-6791-272E-138F072028F4}"/>
                </a:ext>
              </a:extLst>
            </p:cNvPr>
            <p:cNvSpPr/>
            <p:nvPr/>
          </p:nvSpPr>
          <p:spPr>
            <a:xfrm>
              <a:off x="3832179" y="3583821"/>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Credentials</a:t>
              </a:r>
            </a:p>
          </p:txBody>
        </p:sp>
        <p:sp>
          <p:nvSpPr>
            <p:cNvPr id="19" name="Rectangle 18">
              <a:extLst>
                <a:ext uri="{FF2B5EF4-FFF2-40B4-BE49-F238E27FC236}">
                  <a16:creationId xmlns:a16="http://schemas.microsoft.com/office/drawing/2014/main" id="{04A0FB41-D8A4-5402-EE78-C14FBEA8350C}"/>
                </a:ext>
              </a:extLst>
            </p:cNvPr>
            <p:cNvSpPr/>
            <p:nvPr/>
          </p:nvSpPr>
          <p:spPr>
            <a:xfrm>
              <a:off x="5526540" y="4117438"/>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Our Commitment</a:t>
              </a:r>
            </a:p>
          </p:txBody>
        </p:sp>
        <p:sp>
          <p:nvSpPr>
            <p:cNvPr id="20" name="Rectangle 19">
              <a:extLst>
                <a:ext uri="{FF2B5EF4-FFF2-40B4-BE49-F238E27FC236}">
                  <a16:creationId xmlns:a16="http://schemas.microsoft.com/office/drawing/2014/main" id="{F8E3B253-A4EB-E724-1981-3D960A4500D9}"/>
                </a:ext>
              </a:extLst>
            </p:cNvPr>
            <p:cNvSpPr/>
            <p:nvPr/>
          </p:nvSpPr>
          <p:spPr>
            <a:xfrm>
              <a:off x="7192761" y="3657323"/>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Independence</a:t>
              </a:r>
            </a:p>
          </p:txBody>
        </p:sp>
        <p:sp>
          <p:nvSpPr>
            <p:cNvPr id="21" name="Rectangle 20">
              <a:extLst>
                <a:ext uri="{FF2B5EF4-FFF2-40B4-BE49-F238E27FC236}">
                  <a16:creationId xmlns:a16="http://schemas.microsoft.com/office/drawing/2014/main" id="{4F9767DB-2A89-CC46-BCC9-73FF04CF8784}"/>
                </a:ext>
              </a:extLst>
            </p:cNvPr>
            <p:cNvSpPr/>
            <p:nvPr/>
          </p:nvSpPr>
          <p:spPr>
            <a:xfrm>
              <a:off x="8852610" y="4118357"/>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st Effectiveness</a:t>
              </a:r>
            </a:p>
          </p:txBody>
        </p:sp>
        <p:pic>
          <p:nvPicPr>
            <p:cNvPr id="27" name="Graphic 26" descr="Users with solid fill">
              <a:extLst>
                <a:ext uri="{FF2B5EF4-FFF2-40B4-BE49-F238E27FC236}">
                  <a16:creationId xmlns:a16="http://schemas.microsoft.com/office/drawing/2014/main" id="{F4B00CEA-310A-8B32-DBF2-C3865B3046D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419645" y="3518877"/>
              <a:ext cx="640080" cy="640080"/>
            </a:xfrm>
            <a:prstGeom prst="rect">
              <a:avLst/>
            </a:prstGeom>
          </p:spPr>
        </p:pic>
        <p:pic>
          <p:nvPicPr>
            <p:cNvPr id="28" name="Graphic 27" descr="Handshake with solid fill">
              <a:extLst>
                <a:ext uri="{FF2B5EF4-FFF2-40B4-BE49-F238E27FC236}">
                  <a16:creationId xmlns:a16="http://schemas.microsoft.com/office/drawing/2014/main" id="{D9FB547E-1341-7ECD-1EA4-9B042103EB12}"/>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845195" y="3529509"/>
              <a:ext cx="640080" cy="640080"/>
            </a:xfrm>
            <a:prstGeom prst="rect">
              <a:avLst/>
            </a:prstGeom>
          </p:spPr>
        </p:pic>
        <p:pic>
          <p:nvPicPr>
            <p:cNvPr id="29" name="Graphic 28" descr="Badge Tick with solid fill">
              <a:extLst>
                <a:ext uri="{FF2B5EF4-FFF2-40B4-BE49-F238E27FC236}">
                  <a16:creationId xmlns:a16="http://schemas.microsoft.com/office/drawing/2014/main" id="{65F31BFE-FAF0-9684-FBDF-2308F68D5B3C}"/>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108827" y="3903544"/>
              <a:ext cx="640080" cy="640080"/>
            </a:xfrm>
            <a:prstGeom prst="rect">
              <a:avLst/>
            </a:prstGeom>
          </p:spPr>
        </p:pic>
        <p:pic>
          <p:nvPicPr>
            <p:cNvPr id="30" name="Graphic 29" descr="Gears with solid fill">
              <a:extLst>
                <a:ext uri="{FF2B5EF4-FFF2-40B4-BE49-F238E27FC236}">
                  <a16:creationId xmlns:a16="http://schemas.microsoft.com/office/drawing/2014/main" id="{504F0F98-8194-1A0D-3A88-D292079F2FE9}"/>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470247" y="3905704"/>
              <a:ext cx="640080" cy="640080"/>
            </a:xfrm>
            <a:prstGeom prst="rect">
              <a:avLst/>
            </a:prstGeom>
          </p:spPr>
        </p:pic>
        <p:grpSp>
          <p:nvGrpSpPr>
            <p:cNvPr id="31" name="Savings" descr="{&quot;Key&quot;:&quot;POWER_USER_SHAPE_ICON&quot;,&quot;Value&quot;:&quot;POWER_USER_SHAPE_ICON_STYLE_1&quot;}">
              <a:extLst>
                <a:ext uri="{FF2B5EF4-FFF2-40B4-BE49-F238E27FC236}">
                  <a16:creationId xmlns:a16="http://schemas.microsoft.com/office/drawing/2014/main" id="{829C1C2A-AB8A-6A15-E513-116277084C41}"/>
                </a:ext>
              </a:extLst>
            </p:cNvPr>
            <p:cNvGrpSpPr>
              <a:grpSpLocks noChangeAspect="1"/>
            </p:cNvGrpSpPr>
            <p:nvPr>
              <p:custDataLst>
                <p:tags r:id="rId1"/>
              </p:custDataLst>
            </p:nvPr>
          </p:nvGrpSpPr>
          <p:grpSpPr>
            <a:xfrm>
              <a:off x="9132081" y="3626533"/>
              <a:ext cx="640080" cy="510820"/>
              <a:chOff x="2079464" y="1312751"/>
              <a:chExt cx="1690478" cy="1349097"/>
            </a:xfrm>
            <a:solidFill>
              <a:schemeClr val="tx1"/>
            </a:solidFill>
          </p:grpSpPr>
          <p:grpSp>
            <p:nvGrpSpPr>
              <p:cNvPr id="32" name="POWER_USER_ID_ICONS_Food_Bank">
                <a:extLst>
                  <a:ext uri="{FF2B5EF4-FFF2-40B4-BE49-F238E27FC236}">
                    <a16:creationId xmlns:a16="http://schemas.microsoft.com/office/drawing/2014/main" id="{80C42019-2E6D-989B-0B85-BF3117906320}"/>
                  </a:ext>
                </a:extLst>
              </p:cNvPr>
              <p:cNvGrpSpPr>
                <a:grpSpLocks noChangeAspect="1"/>
              </p:cNvGrpSpPr>
              <p:nvPr>
                <p:custDataLst>
                  <p:tags r:id="rId2"/>
                </p:custDataLst>
              </p:nvPr>
            </p:nvGrpSpPr>
            <p:grpSpPr bwMode="auto">
              <a:xfrm>
                <a:off x="2079464" y="1474175"/>
                <a:ext cx="1690478" cy="1187673"/>
                <a:chOff x="8" y="205"/>
                <a:chExt cx="390" cy="274"/>
              </a:xfrm>
              <a:grpFill/>
            </p:grpSpPr>
            <p:sp>
              <p:nvSpPr>
                <p:cNvPr id="34" name="Food_Bank">
                  <a:extLst>
                    <a:ext uri="{FF2B5EF4-FFF2-40B4-BE49-F238E27FC236}">
                      <a16:creationId xmlns:a16="http://schemas.microsoft.com/office/drawing/2014/main" id="{2B5F8CF9-4E60-FF2B-3C7C-8FF7E4190B32}"/>
                    </a:ext>
                  </a:extLst>
                </p:cNvPr>
                <p:cNvSpPr>
                  <a:spLocks/>
                </p:cNvSpPr>
                <p:nvPr>
                  <p:custDataLst>
                    <p:tags r:id="rId4"/>
                  </p:custDataLst>
                </p:nvPr>
              </p:nvSpPr>
              <p:spPr bwMode="auto">
                <a:xfrm>
                  <a:off x="233" y="205"/>
                  <a:ext cx="165" cy="274"/>
                </a:xfrm>
                <a:custGeom>
                  <a:avLst/>
                  <a:gdLst>
                    <a:gd name="T0" fmla="*/ 384 w 438"/>
                    <a:gd name="T1" fmla="*/ 0 h 727"/>
                    <a:gd name="T2" fmla="*/ 330 w 438"/>
                    <a:gd name="T3" fmla="*/ 54 h 727"/>
                    <a:gd name="T4" fmla="*/ 330 w 438"/>
                    <a:gd name="T5" fmla="*/ 264 h 727"/>
                    <a:gd name="T6" fmla="*/ 376 w 438"/>
                    <a:gd name="T7" fmla="*/ 332 h 727"/>
                    <a:gd name="T8" fmla="*/ 354 w 438"/>
                    <a:gd name="T9" fmla="*/ 383 h 727"/>
                    <a:gd name="T10" fmla="*/ 243 w 438"/>
                    <a:gd name="T11" fmla="*/ 505 h 727"/>
                    <a:gd name="T12" fmla="*/ 228 w 438"/>
                    <a:gd name="T13" fmla="*/ 533 h 727"/>
                    <a:gd name="T14" fmla="*/ 225 w 438"/>
                    <a:gd name="T15" fmla="*/ 553 h 727"/>
                    <a:gd name="T16" fmla="*/ 190 w 438"/>
                    <a:gd name="T17" fmla="*/ 553 h 727"/>
                    <a:gd name="T18" fmla="*/ 194 w 438"/>
                    <a:gd name="T19" fmla="*/ 522 h 727"/>
                    <a:gd name="T20" fmla="*/ 219 w 438"/>
                    <a:gd name="T21" fmla="*/ 479 h 727"/>
                    <a:gd name="T22" fmla="*/ 328 w 438"/>
                    <a:gd name="T23" fmla="*/ 362 h 727"/>
                    <a:gd name="T24" fmla="*/ 339 w 438"/>
                    <a:gd name="T25" fmla="*/ 334 h 727"/>
                    <a:gd name="T26" fmla="*/ 296 w 438"/>
                    <a:gd name="T27" fmla="*/ 291 h 727"/>
                    <a:gd name="T28" fmla="*/ 266 w 438"/>
                    <a:gd name="T29" fmla="*/ 303 h 727"/>
                    <a:gd name="T30" fmla="*/ 39 w 438"/>
                    <a:gd name="T31" fmla="*/ 531 h 727"/>
                    <a:gd name="T32" fmla="*/ 2 w 438"/>
                    <a:gd name="T33" fmla="*/ 645 h 727"/>
                    <a:gd name="T34" fmla="*/ 3 w 438"/>
                    <a:gd name="T35" fmla="*/ 727 h 727"/>
                    <a:gd name="T36" fmla="*/ 197 w 438"/>
                    <a:gd name="T37" fmla="*/ 727 h 727"/>
                    <a:gd name="T38" fmla="*/ 197 w 438"/>
                    <a:gd name="T39" fmla="*/ 692 h 727"/>
                    <a:gd name="T40" fmla="*/ 219 w 438"/>
                    <a:gd name="T41" fmla="*/ 639 h 727"/>
                    <a:gd name="T42" fmla="*/ 398 w 438"/>
                    <a:gd name="T43" fmla="*/ 449 h 727"/>
                    <a:gd name="T44" fmla="*/ 438 w 438"/>
                    <a:gd name="T45" fmla="*/ 341 h 727"/>
                    <a:gd name="T46" fmla="*/ 438 w 438"/>
                    <a:gd name="T47" fmla="*/ 54 h 727"/>
                    <a:gd name="T48" fmla="*/ 384 w 438"/>
                    <a:gd name="T49" fmla="*/ 0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384" y="0"/>
                      </a:moveTo>
                      <a:cubicBezTo>
                        <a:pt x="354" y="0"/>
                        <a:pt x="330" y="25"/>
                        <a:pt x="330" y="54"/>
                      </a:cubicBezTo>
                      <a:lnTo>
                        <a:pt x="330" y="264"/>
                      </a:lnTo>
                      <a:cubicBezTo>
                        <a:pt x="358" y="277"/>
                        <a:pt x="376" y="303"/>
                        <a:pt x="376" y="332"/>
                      </a:cubicBezTo>
                      <a:cubicBezTo>
                        <a:pt x="376" y="351"/>
                        <a:pt x="368" y="369"/>
                        <a:pt x="354" y="383"/>
                      </a:cubicBezTo>
                      <a:lnTo>
                        <a:pt x="243" y="505"/>
                      </a:lnTo>
                      <a:cubicBezTo>
                        <a:pt x="238" y="512"/>
                        <a:pt x="231" y="522"/>
                        <a:pt x="228" y="533"/>
                      </a:cubicBezTo>
                      <a:cubicBezTo>
                        <a:pt x="226" y="539"/>
                        <a:pt x="225" y="545"/>
                        <a:pt x="225" y="553"/>
                      </a:cubicBezTo>
                      <a:lnTo>
                        <a:pt x="190" y="553"/>
                      </a:lnTo>
                      <a:cubicBezTo>
                        <a:pt x="190" y="542"/>
                        <a:pt x="191" y="532"/>
                        <a:pt x="194" y="522"/>
                      </a:cubicBezTo>
                      <a:cubicBezTo>
                        <a:pt x="200" y="503"/>
                        <a:pt x="212" y="487"/>
                        <a:pt x="219" y="479"/>
                      </a:cubicBezTo>
                      <a:lnTo>
                        <a:pt x="328" y="362"/>
                      </a:lnTo>
                      <a:cubicBezTo>
                        <a:pt x="335" y="354"/>
                        <a:pt x="339" y="344"/>
                        <a:pt x="339" y="334"/>
                      </a:cubicBezTo>
                      <a:cubicBezTo>
                        <a:pt x="339" y="310"/>
                        <a:pt x="319" y="291"/>
                        <a:pt x="296" y="291"/>
                      </a:cubicBezTo>
                      <a:cubicBezTo>
                        <a:pt x="284" y="291"/>
                        <a:pt x="274" y="295"/>
                        <a:pt x="266" y="303"/>
                      </a:cubicBezTo>
                      <a:lnTo>
                        <a:pt x="39" y="531"/>
                      </a:lnTo>
                      <a:cubicBezTo>
                        <a:pt x="0" y="572"/>
                        <a:pt x="2" y="613"/>
                        <a:pt x="2" y="645"/>
                      </a:cubicBezTo>
                      <a:lnTo>
                        <a:pt x="3" y="727"/>
                      </a:lnTo>
                      <a:lnTo>
                        <a:pt x="197" y="727"/>
                      </a:lnTo>
                      <a:lnTo>
                        <a:pt x="197" y="692"/>
                      </a:lnTo>
                      <a:cubicBezTo>
                        <a:pt x="197" y="670"/>
                        <a:pt x="201" y="655"/>
                        <a:pt x="219" y="639"/>
                      </a:cubicBezTo>
                      <a:lnTo>
                        <a:pt x="398" y="449"/>
                      </a:lnTo>
                      <a:cubicBezTo>
                        <a:pt x="424" y="419"/>
                        <a:pt x="438" y="381"/>
                        <a:pt x="438" y="341"/>
                      </a:cubicBezTo>
                      <a:lnTo>
                        <a:pt x="438" y="54"/>
                      </a:lnTo>
                      <a:cubicBezTo>
                        <a:pt x="438" y="25"/>
                        <a:pt x="414" y="0"/>
                        <a:pt x="3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sp>
              <p:nvSpPr>
                <p:cNvPr id="35" name="Food_Bank">
                  <a:extLst>
                    <a:ext uri="{FF2B5EF4-FFF2-40B4-BE49-F238E27FC236}">
                      <a16:creationId xmlns:a16="http://schemas.microsoft.com/office/drawing/2014/main" id="{C01B6B23-FFEE-B7BD-2904-B288C9D89476}"/>
                    </a:ext>
                  </a:extLst>
                </p:cNvPr>
                <p:cNvSpPr>
                  <a:spLocks/>
                </p:cNvSpPr>
                <p:nvPr>
                  <p:custDataLst>
                    <p:tags r:id="rId5"/>
                  </p:custDataLst>
                </p:nvPr>
              </p:nvSpPr>
              <p:spPr bwMode="auto">
                <a:xfrm>
                  <a:off x="8" y="205"/>
                  <a:ext cx="165" cy="274"/>
                </a:xfrm>
                <a:custGeom>
                  <a:avLst/>
                  <a:gdLst>
                    <a:gd name="T0" fmla="*/ 172 w 438"/>
                    <a:gd name="T1" fmla="*/ 303 h 727"/>
                    <a:gd name="T2" fmla="*/ 142 w 438"/>
                    <a:gd name="T3" fmla="*/ 291 h 727"/>
                    <a:gd name="T4" fmla="*/ 99 w 438"/>
                    <a:gd name="T5" fmla="*/ 334 h 727"/>
                    <a:gd name="T6" fmla="*/ 109 w 438"/>
                    <a:gd name="T7" fmla="*/ 362 h 727"/>
                    <a:gd name="T8" fmla="*/ 219 w 438"/>
                    <a:gd name="T9" fmla="*/ 479 h 727"/>
                    <a:gd name="T10" fmla="*/ 244 w 438"/>
                    <a:gd name="T11" fmla="*/ 522 h 727"/>
                    <a:gd name="T12" fmla="*/ 248 w 438"/>
                    <a:gd name="T13" fmla="*/ 553 h 727"/>
                    <a:gd name="T14" fmla="*/ 213 w 438"/>
                    <a:gd name="T15" fmla="*/ 553 h 727"/>
                    <a:gd name="T16" fmla="*/ 210 w 438"/>
                    <a:gd name="T17" fmla="*/ 533 h 727"/>
                    <a:gd name="T18" fmla="*/ 195 w 438"/>
                    <a:gd name="T19" fmla="*/ 505 h 727"/>
                    <a:gd name="T20" fmla="*/ 84 w 438"/>
                    <a:gd name="T21" fmla="*/ 383 h 727"/>
                    <a:gd name="T22" fmla="*/ 62 w 438"/>
                    <a:gd name="T23" fmla="*/ 332 h 727"/>
                    <a:gd name="T24" fmla="*/ 108 w 438"/>
                    <a:gd name="T25" fmla="*/ 264 h 727"/>
                    <a:gd name="T26" fmla="*/ 108 w 438"/>
                    <a:gd name="T27" fmla="*/ 54 h 727"/>
                    <a:gd name="T28" fmla="*/ 54 w 438"/>
                    <a:gd name="T29" fmla="*/ 0 h 727"/>
                    <a:gd name="T30" fmla="*/ 0 w 438"/>
                    <a:gd name="T31" fmla="*/ 54 h 727"/>
                    <a:gd name="T32" fmla="*/ 0 w 438"/>
                    <a:gd name="T33" fmla="*/ 341 h 727"/>
                    <a:gd name="T34" fmla="*/ 40 w 438"/>
                    <a:gd name="T35" fmla="*/ 449 h 727"/>
                    <a:gd name="T36" fmla="*/ 219 w 438"/>
                    <a:gd name="T37" fmla="*/ 639 h 727"/>
                    <a:gd name="T38" fmla="*/ 241 w 438"/>
                    <a:gd name="T39" fmla="*/ 692 h 727"/>
                    <a:gd name="T40" fmla="*/ 241 w 438"/>
                    <a:gd name="T41" fmla="*/ 727 h 727"/>
                    <a:gd name="T42" fmla="*/ 435 w 438"/>
                    <a:gd name="T43" fmla="*/ 727 h 727"/>
                    <a:gd name="T44" fmla="*/ 436 w 438"/>
                    <a:gd name="T45" fmla="*/ 645 h 727"/>
                    <a:gd name="T46" fmla="*/ 399 w 438"/>
                    <a:gd name="T47" fmla="*/ 531 h 727"/>
                    <a:gd name="T48" fmla="*/ 172 w 438"/>
                    <a:gd name="T49" fmla="*/ 30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172" y="303"/>
                      </a:moveTo>
                      <a:cubicBezTo>
                        <a:pt x="164" y="295"/>
                        <a:pt x="153" y="291"/>
                        <a:pt x="142" y="291"/>
                      </a:cubicBezTo>
                      <a:cubicBezTo>
                        <a:pt x="118" y="291"/>
                        <a:pt x="99" y="310"/>
                        <a:pt x="99" y="334"/>
                      </a:cubicBezTo>
                      <a:cubicBezTo>
                        <a:pt x="99" y="344"/>
                        <a:pt x="103" y="354"/>
                        <a:pt x="109" y="362"/>
                      </a:cubicBezTo>
                      <a:lnTo>
                        <a:pt x="219" y="479"/>
                      </a:lnTo>
                      <a:cubicBezTo>
                        <a:pt x="226" y="487"/>
                        <a:pt x="238" y="503"/>
                        <a:pt x="244" y="522"/>
                      </a:cubicBezTo>
                      <a:cubicBezTo>
                        <a:pt x="247" y="532"/>
                        <a:pt x="248" y="542"/>
                        <a:pt x="248" y="553"/>
                      </a:cubicBezTo>
                      <a:lnTo>
                        <a:pt x="213" y="553"/>
                      </a:lnTo>
                      <a:cubicBezTo>
                        <a:pt x="213" y="545"/>
                        <a:pt x="212" y="539"/>
                        <a:pt x="210" y="533"/>
                      </a:cubicBezTo>
                      <a:cubicBezTo>
                        <a:pt x="207" y="522"/>
                        <a:pt x="200" y="512"/>
                        <a:pt x="195" y="505"/>
                      </a:cubicBezTo>
                      <a:lnTo>
                        <a:pt x="84" y="383"/>
                      </a:lnTo>
                      <a:cubicBezTo>
                        <a:pt x="70" y="369"/>
                        <a:pt x="62" y="351"/>
                        <a:pt x="62" y="332"/>
                      </a:cubicBezTo>
                      <a:cubicBezTo>
                        <a:pt x="62" y="303"/>
                        <a:pt x="79" y="277"/>
                        <a:pt x="108" y="264"/>
                      </a:cubicBezTo>
                      <a:lnTo>
                        <a:pt x="108" y="54"/>
                      </a:lnTo>
                      <a:cubicBezTo>
                        <a:pt x="108" y="25"/>
                        <a:pt x="84" y="0"/>
                        <a:pt x="54" y="0"/>
                      </a:cubicBezTo>
                      <a:cubicBezTo>
                        <a:pt x="24" y="0"/>
                        <a:pt x="0" y="25"/>
                        <a:pt x="0" y="54"/>
                      </a:cubicBezTo>
                      <a:lnTo>
                        <a:pt x="0" y="341"/>
                      </a:lnTo>
                      <a:cubicBezTo>
                        <a:pt x="0" y="381"/>
                        <a:pt x="14" y="419"/>
                        <a:pt x="40" y="449"/>
                      </a:cubicBezTo>
                      <a:lnTo>
                        <a:pt x="219" y="639"/>
                      </a:lnTo>
                      <a:cubicBezTo>
                        <a:pt x="236" y="655"/>
                        <a:pt x="241" y="670"/>
                        <a:pt x="241" y="692"/>
                      </a:cubicBezTo>
                      <a:lnTo>
                        <a:pt x="241" y="727"/>
                      </a:lnTo>
                      <a:lnTo>
                        <a:pt x="435" y="727"/>
                      </a:lnTo>
                      <a:lnTo>
                        <a:pt x="436" y="645"/>
                      </a:lnTo>
                      <a:cubicBezTo>
                        <a:pt x="436" y="613"/>
                        <a:pt x="438" y="572"/>
                        <a:pt x="399" y="531"/>
                      </a:cubicBezTo>
                      <a:lnTo>
                        <a:pt x="172" y="30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sp>
            <p:nvSpPr>
              <p:cNvPr id="33" name="Bill2">
                <a:extLst>
                  <a:ext uri="{FF2B5EF4-FFF2-40B4-BE49-F238E27FC236}">
                    <a16:creationId xmlns:a16="http://schemas.microsoft.com/office/drawing/2014/main" id="{3BDD7577-260F-3393-3B08-1F05AD04483D}"/>
                  </a:ext>
                </a:extLst>
              </p:cNvPr>
              <p:cNvSpPr>
                <a:spLocks noChangeAspect="1" noEditPoints="1"/>
              </p:cNvSpPr>
              <p:nvPr>
                <p:custDataLst>
                  <p:tags r:id="rId3"/>
                </p:custDataLst>
              </p:nvPr>
            </p:nvSpPr>
            <p:spPr bwMode="auto">
              <a:xfrm>
                <a:off x="2462236" y="1312751"/>
                <a:ext cx="910443" cy="542925"/>
              </a:xfrm>
              <a:custGeom>
                <a:avLst/>
                <a:gdLst>
                  <a:gd name="T0" fmla="*/ 0 w 188"/>
                  <a:gd name="T1" fmla="*/ 12 h 112"/>
                  <a:gd name="T2" fmla="*/ 13 w 188"/>
                  <a:gd name="T3" fmla="*/ 112 h 112"/>
                  <a:gd name="T4" fmla="*/ 188 w 188"/>
                  <a:gd name="T5" fmla="*/ 100 h 112"/>
                  <a:gd name="T6" fmla="*/ 175 w 188"/>
                  <a:gd name="T7" fmla="*/ 0 h 112"/>
                  <a:gd name="T8" fmla="*/ 13 w 188"/>
                  <a:gd name="T9" fmla="*/ 12 h 112"/>
                  <a:gd name="T10" fmla="*/ 38 w 188"/>
                  <a:gd name="T11" fmla="*/ 18 h 112"/>
                  <a:gd name="T12" fmla="*/ 25 w 188"/>
                  <a:gd name="T13" fmla="*/ 18 h 112"/>
                  <a:gd name="T14" fmla="*/ 25 w 188"/>
                  <a:gd name="T15" fmla="*/ 31 h 112"/>
                  <a:gd name="T16" fmla="*/ 13 w 188"/>
                  <a:gd name="T17" fmla="*/ 31 h 112"/>
                  <a:gd name="T18" fmla="*/ 94 w 188"/>
                  <a:gd name="T19" fmla="*/ 12 h 112"/>
                  <a:gd name="T20" fmla="*/ 125 w 188"/>
                  <a:gd name="T21" fmla="*/ 56 h 112"/>
                  <a:gd name="T22" fmla="*/ 63 w 188"/>
                  <a:gd name="T23" fmla="*/ 56 h 112"/>
                  <a:gd name="T24" fmla="*/ 156 w 188"/>
                  <a:gd name="T25" fmla="*/ 12 h 112"/>
                  <a:gd name="T26" fmla="*/ 175 w 188"/>
                  <a:gd name="T27" fmla="*/ 31 h 112"/>
                  <a:gd name="T28" fmla="*/ 163 w 188"/>
                  <a:gd name="T29" fmla="*/ 31 h 112"/>
                  <a:gd name="T30" fmla="*/ 163 w 188"/>
                  <a:gd name="T31" fmla="*/ 18 h 112"/>
                  <a:gd name="T32" fmla="*/ 150 w 188"/>
                  <a:gd name="T33" fmla="*/ 18 h 112"/>
                  <a:gd name="T34" fmla="*/ 94 w 188"/>
                  <a:gd name="T35" fmla="*/ 31 h 112"/>
                  <a:gd name="T36" fmla="*/ 102 w 188"/>
                  <a:gd name="T37" fmla="*/ 34 h 112"/>
                  <a:gd name="T38" fmla="*/ 83 w 188"/>
                  <a:gd name="T39" fmla="*/ 37 h 112"/>
                  <a:gd name="T40" fmla="*/ 106 w 188"/>
                  <a:gd name="T41" fmla="*/ 40 h 112"/>
                  <a:gd name="T42" fmla="*/ 83 w 188"/>
                  <a:gd name="T43" fmla="*/ 37 h 112"/>
                  <a:gd name="T44" fmla="*/ 81 w 188"/>
                  <a:gd name="T45" fmla="*/ 46 h 112"/>
                  <a:gd name="T46" fmla="*/ 106 w 188"/>
                  <a:gd name="T47" fmla="*/ 43 h 112"/>
                  <a:gd name="T48" fmla="*/ 81 w 188"/>
                  <a:gd name="T49" fmla="*/ 50 h 112"/>
                  <a:gd name="T50" fmla="*/ 106 w 188"/>
                  <a:gd name="T51" fmla="*/ 53 h 112"/>
                  <a:gd name="T52" fmla="*/ 81 w 188"/>
                  <a:gd name="T53" fmla="*/ 50 h 112"/>
                  <a:gd name="T54" fmla="*/ 81 w 188"/>
                  <a:gd name="T55" fmla="*/ 59 h 112"/>
                  <a:gd name="T56" fmla="*/ 106 w 188"/>
                  <a:gd name="T57" fmla="*/ 56 h 112"/>
                  <a:gd name="T58" fmla="*/ 81 w 188"/>
                  <a:gd name="T59" fmla="*/ 62 h 112"/>
                  <a:gd name="T60" fmla="*/ 103 w 188"/>
                  <a:gd name="T61" fmla="*/ 65 h 112"/>
                  <a:gd name="T62" fmla="*/ 81 w 188"/>
                  <a:gd name="T63" fmla="*/ 62 h 112"/>
                  <a:gd name="T64" fmla="*/ 76 w 188"/>
                  <a:gd name="T65" fmla="*/ 71 h 112"/>
                  <a:gd name="T66" fmla="*/ 100 w 188"/>
                  <a:gd name="T67" fmla="*/ 68 h 112"/>
                  <a:gd name="T68" fmla="*/ 19 w 188"/>
                  <a:gd name="T69" fmla="*/ 75 h 112"/>
                  <a:gd name="T70" fmla="*/ 19 w 188"/>
                  <a:gd name="T71" fmla="*/ 87 h 112"/>
                  <a:gd name="T72" fmla="*/ 31 w 188"/>
                  <a:gd name="T73" fmla="*/ 87 h 112"/>
                  <a:gd name="T74" fmla="*/ 31 w 188"/>
                  <a:gd name="T75" fmla="*/ 100 h 112"/>
                  <a:gd name="T76" fmla="*/ 13 w 188"/>
                  <a:gd name="T77" fmla="*/ 81 h 112"/>
                  <a:gd name="T78" fmla="*/ 78 w 188"/>
                  <a:gd name="T79" fmla="*/ 75 h 112"/>
                  <a:gd name="T80" fmla="*/ 108 w 188"/>
                  <a:gd name="T81" fmla="*/ 78 h 112"/>
                  <a:gd name="T82" fmla="*/ 78 w 188"/>
                  <a:gd name="T83" fmla="*/ 75 h 112"/>
                  <a:gd name="T84" fmla="*/ 175 w 188"/>
                  <a:gd name="T85" fmla="*/ 81 h 112"/>
                  <a:gd name="T86" fmla="*/ 156 w 188"/>
                  <a:gd name="T87" fmla="*/ 100 h 112"/>
                  <a:gd name="T88" fmla="*/ 156 w 188"/>
                  <a:gd name="T89" fmla="*/ 87 h 112"/>
                  <a:gd name="T90" fmla="*/ 169 w 188"/>
                  <a:gd name="T91" fmla="*/ 87 h 112"/>
                  <a:gd name="T92" fmla="*/ 169 w 188"/>
                  <a:gd name="T93" fmla="*/ 75 h 112"/>
                  <a:gd name="T94" fmla="*/ 85 w 188"/>
                  <a:gd name="T95" fmla="*/ 84 h 112"/>
                  <a:gd name="T96" fmla="*/ 106 w 188"/>
                  <a:gd name="T97" fmla="*/ 8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8" h="112">
                    <a:moveTo>
                      <a:pt x="13" y="0"/>
                    </a:moveTo>
                    <a:cubicBezTo>
                      <a:pt x="6" y="0"/>
                      <a:pt x="0" y="5"/>
                      <a:pt x="0" y="12"/>
                    </a:cubicBezTo>
                    <a:lnTo>
                      <a:pt x="0" y="100"/>
                    </a:lnTo>
                    <a:cubicBezTo>
                      <a:pt x="0" y="106"/>
                      <a:pt x="6" y="112"/>
                      <a:pt x="13" y="112"/>
                    </a:cubicBezTo>
                    <a:lnTo>
                      <a:pt x="175" y="112"/>
                    </a:lnTo>
                    <a:cubicBezTo>
                      <a:pt x="182" y="112"/>
                      <a:pt x="188" y="106"/>
                      <a:pt x="188" y="100"/>
                    </a:cubicBezTo>
                    <a:lnTo>
                      <a:pt x="188" y="12"/>
                    </a:lnTo>
                    <a:cubicBezTo>
                      <a:pt x="188" y="5"/>
                      <a:pt x="182" y="0"/>
                      <a:pt x="175" y="0"/>
                    </a:cubicBezTo>
                    <a:lnTo>
                      <a:pt x="13" y="0"/>
                    </a:lnTo>
                    <a:close/>
                    <a:moveTo>
                      <a:pt x="13" y="12"/>
                    </a:moveTo>
                    <a:lnTo>
                      <a:pt x="31" y="12"/>
                    </a:lnTo>
                    <a:cubicBezTo>
                      <a:pt x="35" y="12"/>
                      <a:pt x="38" y="15"/>
                      <a:pt x="38" y="18"/>
                    </a:cubicBezTo>
                    <a:cubicBezTo>
                      <a:pt x="38" y="22"/>
                      <a:pt x="35" y="25"/>
                      <a:pt x="31" y="25"/>
                    </a:cubicBezTo>
                    <a:cubicBezTo>
                      <a:pt x="28" y="25"/>
                      <a:pt x="25" y="22"/>
                      <a:pt x="25" y="18"/>
                    </a:cubicBezTo>
                    <a:lnTo>
                      <a:pt x="19" y="25"/>
                    </a:lnTo>
                    <a:cubicBezTo>
                      <a:pt x="22" y="25"/>
                      <a:pt x="25" y="27"/>
                      <a:pt x="25" y="31"/>
                    </a:cubicBezTo>
                    <a:cubicBezTo>
                      <a:pt x="25" y="34"/>
                      <a:pt x="22" y="37"/>
                      <a:pt x="19" y="37"/>
                    </a:cubicBezTo>
                    <a:cubicBezTo>
                      <a:pt x="15" y="37"/>
                      <a:pt x="13" y="34"/>
                      <a:pt x="13" y="31"/>
                    </a:cubicBezTo>
                    <a:lnTo>
                      <a:pt x="13" y="12"/>
                    </a:lnTo>
                    <a:close/>
                    <a:moveTo>
                      <a:pt x="94" y="12"/>
                    </a:moveTo>
                    <a:cubicBezTo>
                      <a:pt x="111" y="12"/>
                      <a:pt x="125" y="32"/>
                      <a:pt x="125" y="56"/>
                    </a:cubicBezTo>
                    <a:lnTo>
                      <a:pt x="125" y="56"/>
                    </a:lnTo>
                    <a:cubicBezTo>
                      <a:pt x="125" y="80"/>
                      <a:pt x="111" y="100"/>
                      <a:pt x="94" y="100"/>
                    </a:cubicBezTo>
                    <a:cubicBezTo>
                      <a:pt x="76" y="100"/>
                      <a:pt x="63" y="80"/>
                      <a:pt x="63" y="56"/>
                    </a:cubicBezTo>
                    <a:cubicBezTo>
                      <a:pt x="63" y="32"/>
                      <a:pt x="76" y="12"/>
                      <a:pt x="94" y="12"/>
                    </a:cubicBezTo>
                    <a:close/>
                    <a:moveTo>
                      <a:pt x="156" y="12"/>
                    </a:moveTo>
                    <a:lnTo>
                      <a:pt x="175" y="12"/>
                    </a:lnTo>
                    <a:lnTo>
                      <a:pt x="175" y="31"/>
                    </a:lnTo>
                    <a:cubicBezTo>
                      <a:pt x="175" y="34"/>
                      <a:pt x="172" y="37"/>
                      <a:pt x="169" y="37"/>
                    </a:cubicBezTo>
                    <a:cubicBezTo>
                      <a:pt x="165" y="37"/>
                      <a:pt x="163" y="34"/>
                      <a:pt x="163" y="31"/>
                    </a:cubicBezTo>
                    <a:cubicBezTo>
                      <a:pt x="163" y="27"/>
                      <a:pt x="165" y="25"/>
                      <a:pt x="169" y="25"/>
                    </a:cubicBezTo>
                    <a:lnTo>
                      <a:pt x="163" y="18"/>
                    </a:lnTo>
                    <a:cubicBezTo>
                      <a:pt x="163" y="22"/>
                      <a:pt x="160" y="25"/>
                      <a:pt x="156" y="25"/>
                    </a:cubicBezTo>
                    <a:cubicBezTo>
                      <a:pt x="153" y="25"/>
                      <a:pt x="150" y="22"/>
                      <a:pt x="150" y="18"/>
                    </a:cubicBezTo>
                    <a:cubicBezTo>
                      <a:pt x="150" y="15"/>
                      <a:pt x="153" y="12"/>
                      <a:pt x="156" y="12"/>
                    </a:cubicBezTo>
                    <a:close/>
                    <a:moveTo>
                      <a:pt x="94" y="31"/>
                    </a:moveTo>
                    <a:cubicBezTo>
                      <a:pt x="90" y="31"/>
                      <a:pt x="87" y="32"/>
                      <a:pt x="85" y="34"/>
                    </a:cubicBezTo>
                    <a:lnTo>
                      <a:pt x="102" y="34"/>
                    </a:lnTo>
                    <a:cubicBezTo>
                      <a:pt x="100" y="32"/>
                      <a:pt x="98" y="31"/>
                      <a:pt x="94" y="31"/>
                    </a:cubicBezTo>
                    <a:close/>
                    <a:moveTo>
                      <a:pt x="83" y="37"/>
                    </a:moveTo>
                    <a:cubicBezTo>
                      <a:pt x="82" y="38"/>
                      <a:pt x="82" y="39"/>
                      <a:pt x="82" y="40"/>
                    </a:cubicBezTo>
                    <a:lnTo>
                      <a:pt x="106" y="40"/>
                    </a:lnTo>
                    <a:cubicBezTo>
                      <a:pt x="105" y="39"/>
                      <a:pt x="105" y="38"/>
                      <a:pt x="105" y="37"/>
                    </a:cubicBezTo>
                    <a:lnTo>
                      <a:pt x="83" y="37"/>
                    </a:lnTo>
                    <a:close/>
                    <a:moveTo>
                      <a:pt x="81" y="43"/>
                    </a:moveTo>
                    <a:lnTo>
                      <a:pt x="81" y="46"/>
                    </a:lnTo>
                    <a:lnTo>
                      <a:pt x="106" y="46"/>
                    </a:lnTo>
                    <a:lnTo>
                      <a:pt x="106" y="43"/>
                    </a:lnTo>
                    <a:lnTo>
                      <a:pt x="81" y="43"/>
                    </a:lnTo>
                    <a:close/>
                    <a:moveTo>
                      <a:pt x="81" y="50"/>
                    </a:moveTo>
                    <a:lnTo>
                      <a:pt x="81" y="53"/>
                    </a:lnTo>
                    <a:lnTo>
                      <a:pt x="106" y="53"/>
                    </a:lnTo>
                    <a:lnTo>
                      <a:pt x="106" y="50"/>
                    </a:lnTo>
                    <a:lnTo>
                      <a:pt x="81" y="50"/>
                    </a:lnTo>
                    <a:close/>
                    <a:moveTo>
                      <a:pt x="81" y="56"/>
                    </a:moveTo>
                    <a:lnTo>
                      <a:pt x="81" y="59"/>
                    </a:lnTo>
                    <a:lnTo>
                      <a:pt x="106" y="59"/>
                    </a:lnTo>
                    <a:lnTo>
                      <a:pt x="106" y="56"/>
                    </a:lnTo>
                    <a:lnTo>
                      <a:pt x="81" y="56"/>
                    </a:lnTo>
                    <a:close/>
                    <a:moveTo>
                      <a:pt x="81" y="62"/>
                    </a:moveTo>
                    <a:lnTo>
                      <a:pt x="78" y="65"/>
                    </a:lnTo>
                    <a:lnTo>
                      <a:pt x="103" y="65"/>
                    </a:lnTo>
                    <a:lnTo>
                      <a:pt x="106" y="62"/>
                    </a:lnTo>
                    <a:lnTo>
                      <a:pt x="81" y="62"/>
                    </a:lnTo>
                    <a:close/>
                    <a:moveTo>
                      <a:pt x="75" y="68"/>
                    </a:moveTo>
                    <a:cubicBezTo>
                      <a:pt x="75" y="68"/>
                      <a:pt x="75" y="70"/>
                      <a:pt x="76" y="71"/>
                    </a:cubicBezTo>
                    <a:lnTo>
                      <a:pt x="105" y="71"/>
                    </a:lnTo>
                    <a:lnTo>
                      <a:pt x="100" y="68"/>
                    </a:lnTo>
                    <a:lnTo>
                      <a:pt x="75" y="68"/>
                    </a:lnTo>
                    <a:close/>
                    <a:moveTo>
                      <a:pt x="19" y="75"/>
                    </a:moveTo>
                    <a:cubicBezTo>
                      <a:pt x="22" y="75"/>
                      <a:pt x="25" y="77"/>
                      <a:pt x="25" y="81"/>
                    </a:cubicBezTo>
                    <a:cubicBezTo>
                      <a:pt x="25" y="84"/>
                      <a:pt x="22" y="87"/>
                      <a:pt x="19" y="87"/>
                    </a:cubicBezTo>
                    <a:lnTo>
                      <a:pt x="25" y="93"/>
                    </a:lnTo>
                    <a:cubicBezTo>
                      <a:pt x="25" y="90"/>
                      <a:pt x="28" y="87"/>
                      <a:pt x="31" y="87"/>
                    </a:cubicBezTo>
                    <a:cubicBezTo>
                      <a:pt x="35" y="87"/>
                      <a:pt x="38" y="90"/>
                      <a:pt x="38" y="93"/>
                    </a:cubicBezTo>
                    <a:cubicBezTo>
                      <a:pt x="38" y="97"/>
                      <a:pt x="35" y="100"/>
                      <a:pt x="31" y="100"/>
                    </a:cubicBezTo>
                    <a:lnTo>
                      <a:pt x="13" y="100"/>
                    </a:lnTo>
                    <a:lnTo>
                      <a:pt x="13" y="81"/>
                    </a:lnTo>
                    <a:cubicBezTo>
                      <a:pt x="13" y="77"/>
                      <a:pt x="15" y="75"/>
                      <a:pt x="19" y="75"/>
                    </a:cubicBezTo>
                    <a:close/>
                    <a:moveTo>
                      <a:pt x="78" y="75"/>
                    </a:moveTo>
                    <a:cubicBezTo>
                      <a:pt x="79" y="76"/>
                      <a:pt x="79" y="76"/>
                      <a:pt x="80" y="78"/>
                    </a:cubicBezTo>
                    <a:lnTo>
                      <a:pt x="108" y="78"/>
                    </a:lnTo>
                    <a:cubicBezTo>
                      <a:pt x="109" y="76"/>
                      <a:pt x="109" y="75"/>
                      <a:pt x="109" y="75"/>
                    </a:cubicBezTo>
                    <a:lnTo>
                      <a:pt x="78" y="75"/>
                    </a:lnTo>
                    <a:close/>
                    <a:moveTo>
                      <a:pt x="169" y="75"/>
                    </a:moveTo>
                    <a:cubicBezTo>
                      <a:pt x="172" y="75"/>
                      <a:pt x="175" y="77"/>
                      <a:pt x="175" y="81"/>
                    </a:cubicBezTo>
                    <a:lnTo>
                      <a:pt x="175" y="100"/>
                    </a:lnTo>
                    <a:lnTo>
                      <a:pt x="156" y="100"/>
                    </a:lnTo>
                    <a:cubicBezTo>
                      <a:pt x="153" y="100"/>
                      <a:pt x="150" y="97"/>
                      <a:pt x="150" y="93"/>
                    </a:cubicBezTo>
                    <a:cubicBezTo>
                      <a:pt x="150" y="90"/>
                      <a:pt x="153" y="87"/>
                      <a:pt x="156" y="87"/>
                    </a:cubicBezTo>
                    <a:cubicBezTo>
                      <a:pt x="160" y="87"/>
                      <a:pt x="163" y="90"/>
                      <a:pt x="163" y="93"/>
                    </a:cubicBezTo>
                    <a:lnTo>
                      <a:pt x="169" y="87"/>
                    </a:lnTo>
                    <a:cubicBezTo>
                      <a:pt x="165" y="87"/>
                      <a:pt x="163" y="84"/>
                      <a:pt x="163" y="81"/>
                    </a:cubicBezTo>
                    <a:cubicBezTo>
                      <a:pt x="163" y="77"/>
                      <a:pt x="165" y="75"/>
                      <a:pt x="169" y="75"/>
                    </a:cubicBezTo>
                    <a:close/>
                    <a:moveTo>
                      <a:pt x="82" y="81"/>
                    </a:moveTo>
                    <a:cubicBezTo>
                      <a:pt x="83" y="82"/>
                      <a:pt x="84" y="83"/>
                      <a:pt x="85" y="84"/>
                    </a:cubicBezTo>
                    <a:lnTo>
                      <a:pt x="103" y="84"/>
                    </a:lnTo>
                    <a:cubicBezTo>
                      <a:pt x="104" y="83"/>
                      <a:pt x="105" y="82"/>
                      <a:pt x="106" y="81"/>
                    </a:cubicBezTo>
                    <a:lnTo>
                      <a:pt x="82" y="8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grpSp>
    </p:spTree>
    <p:extLst>
      <p:ext uri="{BB962C8B-B14F-4D97-AF65-F5344CB8AC3E}">
        <p14:creationId xmlns:p14="http://schemas.microsoft.com/office/powerpoint/2010/main" val="18012076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bg2">
              <a:lumMod val="10000"/>
            </a:schemeClr>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TABLE OF CONTENTS</a:t>
            </a:r>
            <a:endParaRPr lang="en-GB" sz="4000" b="1">
              <a:solidFill>
                <a:schemeClr val="bg1"/>
              </a:solidFill>
              <a:latin typeface="Calibri" panose="020F0502020204030204" pitchFamily="34" charset="0"/>
              <a:cs typeface="Calibri" panose="020F0502020204030204" pitchFamily="34" charset="0"/>
            </a:endParaRPr>
          </a:p>
        </p:txBody>
      </p:sp>
      <p:graphicFrame>
        <p:nvGraphicFramePr>
          <p:cNvPr id="6" name="Table 5">
            <a:extLst>
              <a:ext uri="{FF2B5EF4-FFF2-40B4-BE49-F238E27FC236}">
                <a16:creationId xmlns:a16="http://schemas.microsoft.com/office/drawing/2014/main" id="{26A499F3-49DA-CD07-57F0-A6ECE6D32701}"/>
              </a:ext>
            </a:extLst>
          </p:cNvPr>
          <p:cNvGraphicFramePr>
            <a:graphicFrameLocks noGrp="1"/>
          </p:cNvGraphicFramePr>
          <p:nvPr>
            <p:extLst>
              <p:ext uri="{D42A27DB-BD31-4B8C-83A1-F6EECF244321}">
                <p14:modId xmlns:p14="http://schemas.microsoft.com/office/powerpoint/2010/main" val="3563240941"/>
              </p:ext>
            </p:extLst>
          </p:nvPr>
        </p:nvGraphicFramePr>
        <p:xfrm>
          <a:off x="0" y="1620836"/>
          <a:ext cx="12192000" cy="3969011"/>
        </p:xfrm>
        <a:graphic>
          <a:graphicData uri="http://schemas.openxmlformats.org/drawingml/2006/table">
            <a:tbl>
              <a:tblPr firstRow="1" bandRow="1"/>
              <a:tblGrid>
                <a:gridCol w="1440873">
                  <a:extLst>
                    <a:ext uri="{9D8B030D-6E8A-4147-A177-3AD203B41FA5}">
                      <a16:colId xmlns:a16="http://schemas.microsoft.com/office/drawing/2014/main" val="2854472208"/>
                    </a:ext>
                  </a:extLst>
                </a:gridCol>
                <a:gridCol w="7891864">
                  <a:extLst>
                    <a:ext uri="{9D8B030D-6E8A-4147-A177-3AD203B41FA5}">
                      <a16:colId xmlns:a16="http://schemas.microsoft.com/office/drawing/2014/main" val="2571585929"/>
                    </a:ext>
                  </a:extLst>
                </a:gridCol>
                <a:gridCol w="2859263">
                  <a:extLst>
                    <a:ext uri="{9D8B030D-6E8A-4147-A177-3AD203B41FA5}">
                      <a16:colId xmlns:a16="http://schemas.microsoft.com/office/drawing/2014/main" val="464968268"/>
                    </a:ext>
                  </a:extLst>
                </a:gridCol>
              </a:tblGrid>
              <a:tr h="39915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Sr. No.</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b="1">
                          <a:solidFill>
                            <a:schemeClr val="tx1"/>
                          </a:solidFill>
                        </a:rPr>
                        <a:t>Section</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Mapping</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extLst>
                  <a:ext uri="{0D108BD9-81ED-4DB2-BD59-A6C34878D82A}">
                    <a16:rowId xmlns:a16="http://schemas.microsoft.com/office/drawing/2014/main" val="3277941295"/>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Company Profil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03</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938154264"/>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2</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Project Overview</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20</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205650170"/>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3</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Introduction to SAMA CSF</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23</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046196030"/>
                  </a:ext>
                </a:extLst>
              </a:tr>
              <a:tr h="356986">
                <a:tc>
                  <a:txBody>
                    <a:bodyPr/>
                    <a:lstStyle/>
                    <a:p>
                      <a:pPr algn="ctr"/>
                      <a:r>
                        <a:rPr lang="en-US" sz="1600"/>
                        <a:t>4</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Delivery Methodology</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27</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088760529"/>
                  </a:ext>
                </a:extLst>
              </a:tr>
              <a:tr h="356986">
                <a:tc>
                  <a:txBody>
                    <a:bodyPr/>
                    <a:lstStyle/>
                    <a:p>
                      <a:pPr algn="ctr"/>
                      <a:r>
                        <a:rPr lang="en-US" sz="1600"/>
                        <a:t>6</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Project Deliverable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31</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641268430"/>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6</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Timelin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33</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883576045"/>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7</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Management</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5</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451549523"/>
                  </a:ext>
                </a:extLst>
              </a:tr>
              <a:tr h="356986">
                <a:tc>
                  <a:txBody>
                    <a:bodyPr/>
                    <a:lstStyle/>
                    <a:p>
                      <a:pPr algn="ctr"/>
                      <a:r>
                        <a:rPr lang="en-US" sz="1600"/>
                        <a:t>8</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Our Team</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40</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439371442"/>
                  </a:ext>
                </a:extLst>
              </a:tr>
              <a:tr h="356986">
                <a:tc>
                  <a:txBody>
                    <a:bodyPr/>
                    <a:lstStyle/>
                    <a:p>
                      <a:pPr algn="ctr"/>
                      <a:r>
                        <a:rPr lang="en-US" sz="1600"/>
                        <a:t>10</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a:solidFill>
                            <a:schemeClr val="tx1"/>
                          </a:solidFill>
                        </a:rPr>
                        <a:t>Contact U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2</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30985261"/>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Financials</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44</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538589570"/>
                  </a:ext>
                </a:extLst>
              </a:tr>
            </a:tbl>
          </a:graphicData>
        </a:graphic>
      </p:graphicFrame>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5366705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text&#10;&#10;Description automatically generated">
            <a:extLst>
              <a:ext uri="{FF2B5EF4-FFF2-40B4-BE49-F238E27FC236}">
                <a16:creationId xmlns:a16="http://schemas.microsoft.com/office/drawing/2014/main" id="{874AF28D-1328-7ECD-A4B3-22D91CCDA30B}"/>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val="0"/>
              </a:ext>
            </a:extLst>
          </a:blip>
          <a:srcRect/>
          <a:stretch/>
        </p:blipFill>
        <p:spPr>
          <a:xfrm>
            <a:off x="7991339" y="334"/>
            <a:ext cx="3332162" cy="6075363"/>
          </a:xfrm>
        </p:spPr>
      </p:pic>
      <p:pic>
        <p:nvPicPr>
          <p:cNvPr id="6" name="Picture Placeholder 5" descr="Background pattern&#10;&#10;Description automatically generated">
            <a:extLst>
              <a:ext uri="{FF2B5EF4-FFF2-40B4-BE49-F238E27FC236}">
                <a16:creationId xmlns:a16="http://schemas.microsoft.com/office/drawing/2014/main" id="{6C5ADFFF-D8F0-2970-57AB-927FCC093766}"/>
              </a:ext>
            </a:extLst>
          </p:cNvPr>
          <p:cNvPicPr>
            <a:picLocks noGrp="1" noChangeAspect="1"/>
          </p:cNvPicPr>
          <p:nvPr>
            <p:ph type="pic" sz="quarter" idx="11"/>
          </p:nvPr>
        </p:nvPicPr>
        <p:blipFill rotWithShape="1">
          <a:blip r:embed="rId3">
            <a:biLevel thresh="25000"/>
            <a:extLst>
              <a:ext uri="{BEBA8EAE-BF5A-486C-A8C5-ECC9F3942E4B}">
                <a14:imgProps xmlns:a14="http://schemas.microsoft.com/office/drawing/2010/main">
                  <a14:imgLayer r:embed="rId4">
                    <a14:imgEffect>
                      <a14:colorTemperature colorTemp="7037"/>
                    </a14:imgEffect>
                    <a14:imgEffect>
                      <a14:saturation sat="23000"/>
                    </a14:imgEffect>
                  </a14:imgLayer>
                </a14:imgProps>
              </a:ext>
              <a:ext uri="{28A0092B-C50C-407E-A947-70E740481C1C}">
                <a14:useLocalDpi xmlns:a14="http://schemas.microsoft.com/office/drawing/2010/main" val="0"/>
              </a:ext>
            </a:extLst>
          </a:blip>
          <a:srcRect/>
          <a:stretch/>
        </p:blipFill>
        <p:spPr>
          <a:xfrm>
            <a:off x="7716766" y="1097361"/>
            <a:ext cx="3881308" cy="3881308"/>
          </a:xfrm>
        </p:spPr>
      </p:pic>
      <p:sp>
        <p:nvSpPr>
          <p:cNvPr id="4" name="Text Placeholder 3">
            <a:extLst>
              <a:ext uri="{FF2B5EF4-FFF2-40B4-BE49-F238E27FC236}">
                <a16:creationId xmlns:a16="http://schemas.microsoft.com/office/drawing/2014/main" id="{6510F2B9-8122-8AD9-9182-9AB5054A4EE9}"/>
              </a:ext>
            </a:extLst>
          </p:cNvPr>
          <p:cNvSpPr>
            <a:spLocks noGrp="1"/>
          </p:cNvSpPr>
          <p:nvPr>
            <p:ph type="body" sz="quarter" idx="12"/>
          </p:nvPr>
        </p:nvSpPr>
        <p:spPr/>
        <p:txBody>
          <a:bodyPr/>
          <a:lstStyle/>
          <a:p>
            <a:r>
              <a:rPr lang="en-US"/>
              <a:t>PROJECT OVERVIEW</a:t>
            </a:r>
            <a:endParaRPr lang="en-GB"/>
          </a:p>
        </p:txBody>
      </p:sp>
    </p:spTree>
    <p:extLst>
      <p:ext uri="{BB962C8B-B14F-4D97-AF65-F5344CB8AC3E}">
        <p14:creationId xmlns:p14="http://schemas.microsoft.com/office/powerpoint/2010/main" val="35039092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a:extLst>
              <a:ext uri="{FF2B5EF4-FFF2-40B4-BE49-F238E27FC236}">
                <a16:creationId xmlns:a16="http://schemas.microsoft.com/office/drawing/2014/main" id="{25BE53B4-A9A2-7755-F0DC-D1A7C102C417}"/>
              </a:ext>
            </a:extLst>
          </p:cNvPr>
          <p:cNvSpPr/>
          <p:nvPr/>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a:ln>
                  <a:noFill/>
                </a:ln>
                <a:solidFill>
                  <a:prstClr val="white"/>
                </a:solidFill>
                <a:effectLst/>
                <a:uLnTx/>
                <a:uFillTx/>
                <a:latin typeface="Calibri"/>
                <a:ea typeface="+mn-ea"/>
                <a:cs typeface="+mn-cs"/>
              </a:rPr>
              <a:t>EXECUTIVE SUMMARY</a:t>
            </a: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Placeholder 5" descr="A person holding a tablet&#10;&#10;Description automatically generated with low confidence">
            <a:extLst>
              <a:ext uri="{FF2B5EF4-FFF2-40B4-BE49-F238E27FC236}">
                <a16:creationId xmlns:a16="http://schemas.microsoft.com/office/drawing/2014/main" id="{8B94906A-1875-AF9F-1DF9-9050EF350490}"/>
              </a:ext>
            </a:extLst>
          </p:cNvPr>
          <p:cNvPicPr>
            <a:picLocks noGrp="1" noChangeAspect="1"/>
          </p:cNvPicPr>
          <p:nvPr>
            <p:ph type="pic" sz="quarter" idx="13"/>
          </p:nvPr>
        </p:nvPicPr>
        <p:blipFill rotWithShape="1">
          <a:blip r:embed="rId3" cstate="print">
            <a:extLst>
              <a:ext uri="{28A0092B-C50C-407E-A947-70E740481C1C}">
                <a14:useLocalDpi xmlns:a14="http://schemas.microsoft.com/office/drawing/2010/main" val="0"/>
              </a:ext>
            </a:extLst>
          </a:blip>
          <a:srcRect/>
          <a:stretch/>
        </p:blipFill>
        <p:spPr>
          <a:xfrm>
            <a:off x="7856957" y="12879"/>
            <a:ext cx="4347922" cy="6870879"/>
          </a:xfrm>
        </p:spPr>
      </p:pic>
      <p:sp>
        <p:nvSpPr>
          <p:cNvPr id="3" name="TextBox 6">
            <a:extLst>
              <a:ext uri="{FF2B5EF4-FFF2-40B4-BE49-F238E27FC236}">
                <a16:creationId xmlns:a16="http://schemas.microsoft.com/office/drawing/2014/main" id="{CDE7D77E-6DAA-CF33-0531-C60DED053A2A}"/>
              </a:ext>
            </a:extLst>
          </p:cNvPr>
          <p:cNvSpPr txBox="1"/>
          <p:nvPr/>
        </p:nvSpPr>
        <p:spPr>
          <a:xfrm>
            <a:off x="702128" y="2084387"/>
            <a:ext cx="6418944" cy="2769989"/>
          </a:xfrm>
          <a:prstGeom prst="rect">
            <a:avLst/>
          </a:prstGeom>
        </p:spPr>
        <p:txBody>
          <a:bodyPr wrap="square" lIns="0" tIns="0" rIns="0" bIns="0" rtlCol="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GRC360 renders services related to cyber security for assessing, analyzing and improving information security of our valuable clients. We help in providing solutions that could lead to the development of sustainable, efficient and resilient system.</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algn="just">
              <a:defRPr/>
            </a:pPr>
            <a:r>
              <a:rPr kumimoji="0" lang="en-US" sz="1800" b="0" i="0" u="none" strike="noStrike" kern="1200" cap="none" spc="14" normalizeH="0" baseline="0" noProof="0" dirty="0">
                <a:ln>
                  <a:noFill/>
                </a:ln>
                <a:solidFill>
                  <a:srgbClr val="000000"/>
                </a:solidFill>
                <a:effectLst/>
                <a:uLnTx/>
                <a:uFillTx/>
                <a:latin typeface="Calibri"/>
                <a:ea typeface="Calibri"/>
                <a:cs typeface="Calibri"/>
              </a:rPr>
              <a:t>This proposal provides the holistic approach of methodology to conduct </a:t>
            </a:r>
            <a:r>
              <a:rPr lang="en-US" b="1" spc="14" dirty="0">
                <a:solidFill>
                  <a:srgbClr val="000000"/>
                </a:solidFill>
                <a:latin typeface="Calibri"/>
                <a:ea typeface="Calibri"/>
                <a:cs typeface="Calibri"/>
              </a:rPr>
              <a:t>Dummy Company </a:t>
            </a:r>
            <a:r>
              <a:rPr lang="en-US" spc="14" dirty="0">
                <a:solidFill>
                  <a:srgbClr val="000000"/>
                </a:solidFill>
                <a:latin typeface="Calibri"/>
                <a:ea typeface="Calibri"/>
                <a:cs typeface="Calibri"/>
              </a:rPr>
              <a:t>compliance</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 </a:t>
            </a:r>
            <a:r>
              <a:rPr lang="en-US" spc="14" dirty="0">
                <a:solidFill>
                  <a:srgbClr val="000000"/>
                </a:solidFill>
                <a:latin typeface="Calibri"/>
                <a:ea typeface="Calibri"/>
                <a:cs typeface="Calibri"/>
              </a:rPr>
              <a:t>audi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against the</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Dummy Service</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by</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SAMA. Our extensive experience ensures our clients are better able to withstand the impacts of evolving cyber threats and comply with related standards and regulations.</a:t>
            </a:r>
            <a:endParaRPr kumimoji="0" lang="en-US" sz="1800" b="0" i="0" u="none" strike="noStrike" kern="1200" cap="none" spc="16" normalizeH="0" baseline="0" noProof="0" dirty="0">
              <a:ln>
                <a:noFill/>
              </a:ln>
              <a:solidFill>
                <a:srgbClr val="000000"/>
              </a:solidFill>
              <a:effectLst/>
              <a:uLnTx/>
              <a:uFillTx/>
              <a:latin typeface="Calibri"/>
              <a:ea typeface="Calibri"/>
              <a:cs typeface="Calibri"/>
            </a:endParaRPr>
          </a:p>
        </p:txBody>
      </p:sp>
      <p:sp>
        <p:nvSpPr>
          <p:cNvPr id="8" name="Freeform 12">
            <a:extLst>
              <a:ext uri="{FF2B5EF4-FFF2-40B4-BE49-F238E27FC236}">
                <a16:creationId xmlns:a16="http://schemas.microsoft.com/office/drawing/2014/main" id="{5E5C2F17-4099-72C0-9707-3344ED377835}"/>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 name="Freeform 11">
            <a:extLst>
              <a:ext uri="{FF2B5EF4-FFF2-40B4-BE49-F238E27FC236}">
                <a16:creationId xmlns:a16="http://schemas.microsoft.com/office/drawing/2014/main" id="{14C6FACD-6935-6620-05CA-9CDC12115CF0}"/>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23E3070D-C76D-739D-D6E0-925C0097FE9A}"/>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3456146053"/>
      </p:ext>
    </p:extLst>
  </p:cSld>
  <p:clrMapOvr>
    <a:masterClrMapping/>
  </p:clrMapOvr>
  <p:extLst>
    <p:ext uri="{6950BFC3-D8DA-4A85-94F7-54DA5524770B}">
      <p188:commentRel xmlns:p188="http://schemas.microsoft.com/office/powerpoint/2018/8/main" r:id="rId2"/>
    </p:ext>
  </p:extLs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EDF1051-FB7A-286E-D725-D3CDED3706CD}"/>
              </a:ext>
            </a:extLst>
          </p:cNvPr>
          <p:cNvSpPr>
            <a:spLocks noGrp="1"/>
          </p:cNvSpPr>
          <p:nvPr>
            <p:ph type="body" sz="quarter" idx="14"/>
          </p:nvPr>
        </p:nvSpPr>
        <p:spPr/>
        <p:txBody>
          <a:bodyPr/>
          <a:lstStyle/>
          <a:p>
            <a:pPr defTabSz="928688"/>
            <a:r>
              <a:rPr lang="en-US">
                <a:solidFill>
                  <a:schemeClr val="accent1"/>
                </a:solidFill>
              </a:rPr>
              <a:t>PROJECT SCOPE </a:t>
            </a:r>
            <a:endParaRPr lang="en-GB">
              <a:solidFill>
                <a:schemeClr val="accent1"/>
              </a:solidFill>
            </a:endParaRPr>
          </a:p>
        </p:txBody>
      </p:sp>
      <p:pic>
        <p:nvPicPr>
          <p:cNvPr id="25" name="Picture Placeholder 24" descr="A picture containing text&#10;&#10;Description automatically generated">
            <a:extLst>
              <a:ext uri="{FF2B5EF4-FFF2-40B4-BE49-F238E27FC236}">
                <a16:creationId xmlns:a16="http://schemas.microsoft.com/office/drawing/2014/main" id="{68C2BADC-CD6F-F528-5084-52B37F731FB7}"/>
              </a:ext>
            </a:extLst>
          </p:cNvPr>
          <p:cNvPicPr>
            <a:picLocks noGrp="1" noChangeAspect="1"/>
          </p:cNvPicPr>
          <p:nvPr>
            <p:ph type="pic" sz="quarter" idx="15"/>
          </p:nvPr>
        </p:nvPicPr>
        <p:blipFill rotWithShape="1">
          <a:blip r:embed="rId3" cstate="hqprint">
            <a:duotone>
              <a:schemeClr val="accent1">
                <a:shade val="45000"/>
                <a:satMod val="135000"/>
              </a:schemeClr>
              <a:prstClr val="white"/>
            </a:duotone>
            <a:extLst>
              <a:ext uri="{28A0092B-C50C-407E-A947-70E740481C1C}">
                <a14:useLocalDpi xmlns:a14="http://schemas.microsoft.com/office/drawing/2010/main" val="0"/>
              </a:ext>
            </a:extLst>
          </a:blip>
          <a:srcRect/>
          <a:stretch/>
        </p:blipFill>
        <p:spPr>
          <a:xfrm>
            <a:off x="5248251" y="-8885"/>
            <a:ext cx="5847380" cy="2676935"/>
          </a:xfrm>
        </p:spPr>
      </p:pic>
      <p:pic>
        <p:nvPicPr>
          <p:cNvPr id="21" name="Picture Placeholder 20" descr="Diagram&#10;&#10;Description automatically generated">
            <a:extLst>
              <a:ext uri="{FF2B5EF4-FFF2-40B4-BE49-F238E27FC236}">
                <a16:creationId xmlns:a16="http://schemas.microsoft.com/office/drawing/2014/main" id="{4A75B454-1CCD-827C-FEC1-02E9F56A8021}"/>
              </a:ext>
            </a:extLst>
          </p:cNvPr>
          <p:cNvPicPr>
            <a:picLocks noGrp="1" noChangeAspect="1"/>
          </p:cNvPicPr>
          <p:nvPr>
            <p:ph type="pic" sz="quarter" idx="16"/>
          </p:nvPr>
        </p:nvPicPr>
        <p:blipFill rotWithShape="1">
          <a:blip r:embed="rId4" cstate="hqprint">
            <a:extLst>
              <a:ext uri="{28A0092B-C50C-407E-A947-70E740481C1C}">
                <a14:useLocalDpi xmlns:a14="http://schemas.microsoft.com/office/drawing/2010/main" val="0"/>
              </a:ext>
            </a:extLst>
          </a:blip>
          <a:srcRect r="-9"/>
          <a:stretch/>
        </p:blipFill>
        <p:spPr>
          <a:xfrm>
            <a:off x="7367833" y="3242124"/>
            <a:ext cx="4824612" cy="3036712"/>
          </a:xfrm>
        </p:spPr>
      </p:pic>
      <p:sp>
        <p:nvSpPr>
          <p:cNvPr id="5" name="Text Placeholder 4">
            <a:extLst>
              <a:ext uri="{FF2B5EF4-FFF2-40B4-BE49-F238E27FC236}">
                <a16:creationId xmlns:a16="http://schemas.microsoft.com/office/drawing/2014/main" id="{47056C5C-30D6-960B-FEDD-35AB5990BFA4}"/>
              </a:ext>
            </a:extLst>
          </p:cNvPr>
          <p:cNvSpPr>
            <a:spLocks noGrp="1"/>
          </p:cNvSpPr>
          <p:nvPr>
            <p:ph type="body" sz="quarter" idx="17"/>
          </p:nvPr>
        </p:nvSpPr>
        <p:spPr/>
        <p:txBody>
          <a:bodyPr vert="horz" lIns="91440" tIns="45720" rIns="91440" bIns="45720" rtlCol="0" anchor="t">
            <a:noAutofit/>
          </a:bodyPr>
          <a:lstStyle/>
          <a:p>
            <a:pPr marL="0" indent="0">
              <a:buNone/>
            </a:pPr>
            <a:r>
              <a:rPr lang="en-US" dirty="0"/>
              <a:t>The project aims at conducting a comprehensive audit to ensure </a:t>
            </a:r>
            <a:r>
              <a:rPr lang="en-US" b="1" dirty="0"/>
              <a:t>Dummy Company </a:t>
            </a:r>
            <a:r>
              <a:rPr lang="en-US" dirty="0"/>
              <a:t>compliance with SAMA Cyber Security Framework. The project scope shall cover the audit of “Company’s” actual implementation assessment against the following domains and their sub domains:</a:t>
            </a:r>
          </a:p>
          <a:p>
            <a:pPr marL="342900" indent="-342900">
              <a:buFont typeface="+mj-lt"/>
              <a:buAutoNum type="arabicPeriod"/>
            </a:pPr>
            <a:r>
              <a:rPr lang="en-US" dirty="0"/>
              <a:t/>
            </a:r>
          </a:p>
          <a:p>
            <a:pPr/>
            <a:r>
              <a:t>Dummy Bullet Point 1</a:t>
            </a:r>
          </a:p>
          <a:p>
            <a:pPr/>
            <a:r>
              <a:t>Dummy Bullet Point 2</a:t>
            </a:r>
          </a:p>
          <a:p>
            <a:pPr/>
            <a:r>
              <a:t>Dummy Bullet Point 3</a:t>
            </a:r>
          </a:p>
        </p:txBody>
      </p:sp>
    </p:spTree>
    <p:extLst>
      <p:ext uri="{BB962C8B-B14F-4D97-AF65-F5344CB8AC3E}">
        <p14:creationId xmlns:p14="http://schemas.microsoft.com/office/powerpoint/2010/main" val="3097266906"/>
      </p:ext>
    </p:extLst>
  </p:cSld>
  <p:clrMapOvr>
    <a:masterClrMapping/>
  </p:clrMapOvr>
  <p:extLst>
    <p:ext uri="{6950BFC3-D8DA-4A85-94F7-54DA5524770B}">
      <p188:commentRel xmlns:p188="http://schemas.microsoft.com/office/powerpoint/2018/8/main" r:id="rId2"/>
    </p:ext>
  </p:extLs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pic>
        <p:nvPicPr>
          <p:cNvPr id="8" name="Picture Placeholder 7" descr="Calendar&#10;&#10;Description automatically generated">
            <a:extLst>
              <a:ext uri="{FF2B5EF4-FFF2-40B4-BE49-F238E27FC236}">
                <a16:creationId xmlns:a16="http://schemas.microsoft.com/office/drawing/2014/main" id="{3B3A6B86-9EF3-CDC7-3E1F-571DEE2BDA91}"/>
              </a:ext>
            </a:extLst>
          </p:cNvPr>
          <p:cNvPicPr>
            <a:picLocks noGrp="1" noChangeAspect="1"/>
          </p:cNvPicPr>
          <p:nvPr>
            <p:ph type="pic" sz="quarter" idx="11"/>
          </p:nvPr>
        </p:nvPicPr>
        <p:blipFill>
          <a:blip r:embed="rId3" cstate="print">
            <a:extLst>
              <a:ext uri="{28A0092B-C50C-407E-A947-70E740481C1C}">
                <a14:useLocalDpi xmlns:a14="http://schemas.microsoft.com/office/drawing/2010/main" val="0"/>
              </a:ext>
            </a:extLst>
          </a:blip>
          <a:srcRect/>
          <a:stretch>
            <a:fillRect/>
          </a:stretch>
        </p:blipFill>
        <p:spPr>
          <a:xfrm>
            <a:off x="7716701" y="1097296"/>
            <a:ext cx="3881437" cy="3881438"/>
          </a:xfrm>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p:txBody>
          <a:bodyPr/>
          <a:lstStyle/>
          <a:p>
            <a:r>
              <a:rPr lang="en-US"/>
              <a:t>Introduction - SAMA CSF</a:t>
            </a:r>
            <a:endParaRPr lang="en-GB"/>
          </a:p>
        </p:txBody>
      </p:sp>
    </p:spTree>
    <p:extLst>
      <p:ext uri="{BB962C8B-B14F-4D97-AF65-F5344CB8AC3E}">
        <p14:creationId xmlns:p14="http://schemas.microsoft.com/office/powerpoint/2010/main" val="227279983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Graphical user interface&#10;&#10;Description automatically generated">
            <a:extLst>
              <a:ext uri="{FF2B5EF4-FFF2-40B4-BE49-F238E27FC236}">
                <a16:creationId xmlns:a16="http://schemas.microsoft.com/office/drawing/2014/main" id="{7E8FD13D-E1AE-D5AF-32A0-A0B06A167ED8}"/>
              </a:ext>
            </a:extLst>
          </p:cNvPr>
          <p:cNvPicPr>
            <a:picLocks noGrp="1" noChangeAspect="1"/>
          </p:cNvPicPr>
          <p:nvPr>
            <p:ph type="pic" sz="quarter" idx="17"/>
          </p:nvPr>
        </p:nvPicPr>
        <p:blipFill rotWithShape="1">
          <a:blip r:embed="rId3" cstate="print">
            <a:extLst>
              <a:ext uri="{28A0092B-C50C-407E-A947-70E740481C1C}">
                <a14:useLocalDpi xmlns:a14="http://schemas.microsoft.com/office/drawing/2010/main" val="0"/>
              </a:ext>
            </a:extLst>
          </a:blip>
          <a:srcRect l="-117" b="-10459"/>
          <a:stretch/>
        </p:blipFill>
        <p:spPr>
          <a:xfrm>
            <a:off x="-4392" y="1476479"/>
            <a:ext cx="12196392" cy="2496045"/>
          </a:xfrm>
        </p:spPr>
      </p:pic>
      <p:sp>
        <p:nvSpPr>
          <p:cNvPr id="2" name="Text Placeholder 1">
            <a:extLst>
              <a:ext uri="{FF2B5EF4-FFF2-40B4-BE49-F238E27FC236}">
                <a16:creationId xmlns:a16="http://schemas.microsoft.com/office/drawing/2014/main" id="{D19C084E-E65C-C01F-0BCC-8DA37489A53B}"/>
              </a:ext>
            </a:extLst>
          </p:cNvPr>
          <p:cNvSpPr>
            <a:spLocks noGrp="1"/>
          </p:cNvSpPr>
          <p:nvPr>
            <p:ph type="body" sz="quarter" idx="14"/>
          </p:nvPr>
        </p:nvSpPr>
        <p:spPr/>
        <p:txBody>
          <a:bodyPr/>
          <a:lstStyle/>
          <a:p>
            <a:r>
              <a:rPr lang="en-US"/>
              <a:t>SAMA CSF - BACKGROUND</a:t>
            </a:r>
            <a:endParaRPr lang="en-GB"/>
          </a:p>
        </p:txBody>
      </p:sp>
      <p:sp>
        <p:nvSpPr>
          <p:cNvPr id="7" name="Text Placeholder 6">
            <a:extLst>
              <a:ext uri="{FF2B5EF4-FFF2-40B4-BE49-F238E27FC236}">
                <a16:creationId xmlns:a16="http://schemas.microsoft.com/office/drawing/2014/main" id="{69345129-AA7F-D097-B359-9797CC493B2F}"/>
              </a:ext>
            </a:extLst>
          </p:cNvPr>
          <p:cNvSpPr txBox="1">
            <a:spLocks noGrp="1"/>
          </p:cNvSpPr>
          <p:nvPr>
            <p:ph type="body" sz="quarter" idx="16"/>
          </p:nvPr>
        </p:nvSpPr>
        <p:spPr>
          <a:xfrm>
            <a:off x="357665" y="3967575"/>
            <a:ext cx="11462381" cy="2001574"/>
          </a:xfrm>
          <a:prstGeom prst="rect">
            <a:avLst/>
          </a:prstGeom>
          <a:solidFill>
            <a:schemeClr val="bg1"/>
          </a:solidFill>
          <a:ln>
            <a:noFill/>
          </a:ln>
        </p:spPr>
        <p:txBody>
          <a:bodyPr wrap="square" lIns="0" tIns="0" rIns="0" bIns="0" rtlCol="0" anchor="t">
            <a:spAutoFit/>
          </a:bodyPr>
          <a:lstStyle/>
          <a:p>
            <a:pPr marL="112712" algn="just">
              <a:defRPr/>
            </a:pPr>
            <a:r>
              <a:rPr lang="en-US" spc="14">
                <a:solidFill>
                  <a:schemeClr val="tx1"/>
                </a:solidFill>
                <a:latin typeface="Calibri" panose="020F0502020204030204" pitchFamily="34" charset="0"/>
                <a:cs typeface="Calibri" panose="020F0502020204030204" pitchFamily="34" charset="0"/>
              </a:rPr>
              <a:t>To ensure </a:t>
            </a:r>
            <a:r>
              <a:rPr lang="en-GB" sz="1800" b="0" i="0" u="none" strike="noStrike" baseline="0">
                <a:solidFill>
                  <a:srgbClr val="000000"/>
                </a:solidFill>
                <a:latin typeface="Calibri" panose="020F0502020204030204" pitchFamily="34" charset="0"/>
              </a:rPr>
              <a:t>flawless customer experience, </a:t>
            </a:r>
            <a:r>
              <a:rPr lang="en-US" sz="1800" b="0" i="0" u="none" strike="noStrike" baseline="0">
                <a:solidFill>
                  <a:srgbClr val="000000"/>
                </a:solidFill>
                <a:latin typeface="Calibri" panose="020F0502020204030204" pitchFamily="34" charset="0"/>
              </a:rPr>
              <a:t>confidentiality, integrity and availability of information assets and</a:t>
            </a:r>
            <a:r>
              <a:rPr lang="en-GB" sz="1800" b="0" i="0" u="none" strike="noStrike" baseline="0">
                <a:solidFill>
                  <a:srgbClr val="000000"/>
                </a:solidFill>
                <a:latin typeface="Calibri" panose="020F0502020204030204" pitchFamily="34" charset="0"/>
              </a:rPr>
              <a:t> resilience against cyber threats, </a:t>
            </a:r>
            <a:r>
              <a:rPr lang="en-US" spc="14">
                <a:solidFill>
                  <a:schemeClr val="tx1"/>
                </a:solidFill>
                <a:latin typeface="Calibri" panose="020F0502020204030204" pitchFamily="34" charset="0"/>
                <a:cs typeface="Calibri" panose="020F0502020204030204" pitchFamily="34" charset="0"/>
              </a:rPr>
              <a:t>SAMA has established its Cyber Security Framework for Saudi Financial Sector to enable its financial institutions to effectively identify and address risks related to cyber security.</a:t>
            </a:r>
          </a:p>
          <a:p>
            <a:pPr marL="342900" indent="-230188" algn="just">
              <a:buFont typeface="Arial" panose="020B0604020202020204" pitchFamily="34" charset="0"/>
              <a:buChar char="•"/>
              <a:defRPr/>
            </a:pPr>
            <a:r>
              <a:rPr lang="en-US" spc="16">
                <a:solidFill>
                  <a:schemeClr val="tx1"/>
                </a:solidFill>
                <a:latin typeface="Calibri" panose="020F0502020204030204" pitchFamily="34" charset="0"/>
                <a:cs typeface="Calibri" panose="020F0502020204030204" pitchFamily="34" charset="0"/>
              </a:rPr>
              <a:t>The Framework is used by SAMA to periodically assess the maturity level and evaluate the effectiveness of the cyber security controls at SAMA’s Member Organizations, and to compare these with other Member Organizations. </a:t>
            </a:r>
          </a:p>
          <a:p>
            <a:pPr marL="342900" indent="-230188" algn="just">
              <a:buFont typeface="Arial" panose="020B0604020202020204" pitchFamily="34" charset="0"/>
              <a:buChar char="•"/>
              <a:defRPr/>
            </a:pPr>
            <a:r>
              <a:rPr lang="en-US" spc="16">
                <a:solidFill>
                  <a:schemeClr val="tx1"/>
                </a:solidFill>
                <a:latin typeface="Calibri" panose="020F0502020204030204" pitchFamily="34" charset="0"/>
                <a:cs typeface="Calibri" panose="020F0502020204030204" pitchFamily="34" charset="0"/>
              </a:rPr>
              <a:t>The Framework is based on the SAMA requirements and industry cyber security standards, such as NIST, ISF, ISO, BASEL and PCI.</a:t>
            </a:r>
          </a:p>
        </p:txBody>
      </p:sp>
      <p:sp>
        <p:nvSpPr>
          <p:cNvPr id="9" name="Freeform 12">
            <a:extLst>
              <a:ext uri="{FF2B5EF4-FFF2-40B4-BE49-F238E27FC236}">
                <a16:creationId xmlns:a16="http://schemas.microsoft.com/office/drawing/2014/main" id="{871E1494-4D07-BC42-56B1-EB329B90978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91406475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lstStyle/>
          <a:p>
            <a:pPr marL="0" marR="0" lvl="0" indent="9144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4000" b="1" i="0" u="none" strike="noStrike" kern="1200" cap="none" spc="0" normalizeH="0" baseline="0" noProof="0">
                <a:ln>
                  <a:noFill/>
                </a:ln>
                <a:solidFill>
                  <a:prstClr val="white"/>
                </a:solidFill>
                <a:effectLst/>
                <a:uLnTx/>
                <a:uFillTx/>
                <a:latin typeface="Calibri"/>
                <a:ea typeface="+mn-ea"/>
                <a:cs typeface="+mn-cs"/>
              </a:rPr>
              <a:t>CYBER SECURITY </a:t>
            </a:r>
            <a:r>
              <a:rPr lang="en-US">
                <a:solidFill>
                  <a:prstClr val="white"/>
                </a:solidFill>
                <a:latin typeface="Calibri"/>
              </a:rPr>
              <a:t>MATURITY</a:t>
            </a:r>
            <a:r>
              <a:rPr kumimoji="0" lang="en-US" sz="4000" b="1" i="0" u="none" strike="noStrike" kern="1200" cap="none" spc="0" normalizeH="0" baseline="0" noProof="0">
                <a:ln>
                  <a:noFill/>
                </a:ln>
                <a:solidFill>
                  <a:prstClr val="white"/>
                </a:solidFill>
                <a:effectLst/>
                <a:uLnTx/>
                <a:uFillTx/>
                <a:latin typeface="Calibri"/>
                <a:ea typeface="+mn-ea"/>
                <a:cs typeface="+mn-cs"/>
              </a:rPr>
              <a:t> LEVELS</a:t>
            </a:r>
            <a:endParaRPr kumimoji="0" lang="en-GB" sz="4000" b="1"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Diagram 7">
            <a:extLst>
              <a:ext uri="{FF2B5EF4-FFF2-40B4-BE49-F238E27FC236}">
                <a16:creationId xmlns:a16="http://schemas.microsoft.com/office/drawing/2014/main" id="{917CABC4-07FC-7895-E221-DFCFF23007C4}"/>
              </a:ext>
            </a:extLst>
          </p:cNvPr>
          <p:cNvGraphicFramePr/>
          <p:nvPr/>
        </p:nvGraphicFramePr>
        <p:xfrm>
          <a:off x="928892" y="1656889"/>
          <a:ext cx="10334216" cy="381330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9" name="TextBox 8">
            <a:extLst>
              <a:ext uri="{FF2B5EF4-FFF2-40B4-BE49-F238E27FC236}">
                <a16:creationId xmlns:a16="http://schemas.microsoft.com/office/drawing/2014/main" id="{B48991D4-DC56-FA45-9CCA-366294A841AD}"/>
              </a:ext>
            </a:extLst>
          </p:cNvPr>
          <p:cNvSpPr txBox="1"/>
          <p:nvPr/>
        </p:nvSpPr>
        <p:spPr>
          <a:xfrm>
            <a:off x="9834118" y="2538577"/>
            <a:ext cx="1555421" cy="276999"/>
          </a:xfrm>
          <a:prstGeom prst="rect">
            <a:avLst/>
          </a:prstGeom>
          <a:noFill/>
        </p:spPr>
        <p:txBody>
          <a:bodyPr wrap="square" rtlCol="0">
            <a:spAutoFit/>
          </a:bodyPr>
          <a:lstStyle/>
          <a:p>
            <a:r>
              <a:rPr lang="en-US" sz="1200" b="1">
                <a:solidFill>
                  <a:schemeClr val="tx1">
                    <a:lumMod val="50000"/>
                    <a:lumOff val="50000"/>
                  </a:schemeClr>
                </a:solidFill>
              </a:rPr>
              <a:t>ADAPTIVE</a:t>
            </a:r>
          </a:p>
        </p:txBody>
      </p:sp>
      <p:sp>
        <p:nvSpPr>
          <p:cNvPr id="10" name="TextBox 9">
            <a:extLst>
              <a:ext uri="{FF2B5EF4-FFF2-40B4-BE49-F238E27FC236}">
                <a16:creationId xmlns:a16="http://schemas.microsoft.com/office/drawing/2014/main" id="{749F7C2B-4518-E56E-6493-C26D2D6D559E}"/>
              </a:ext>
            </a:extLst>
          </p:cNvPr>
          <p:cNvSpPr txBox="1"/>
          <p:nvPr/>
        </p:nvSpPr>
        <p:spPr>
          <a:xfrm>
            <a:off x="8046772" y="3007275"/>
            <a:ext cx="1451725" cy="461665"/>
          </a:xfrm>
          <a:prstGeom prst="rect">
            <a:avLst/>
          </a:prstGeom>
          <a:noFill/>
        </p:spPr>
        <p:txBody>
          <a:bodyPr wrap="square" rtlCol="0">
            <a:spAutoFit/>
          </a:bodyPr>
          <a:lstStyle/>
          <a:p>
            <a:r>
              <a:rPr lang="en-US" sz="1200" b="1">
                <a:solidFill>
                  <a:schemeClr val="tx1">
                    <a:lumMod val="50000"/>
                    <a:lumOff val="50000"/>
                  </a:schemeClr>
                </a:solidFill>
              </a:rPr>
              <a:t>MANAGED AND MEASURABLE</a:t>
            </a:r>
          </a:p>
        </p:txBody>
      </p:sp>
      <p:sp>
        <p:nvSpPr>
          <p:cNvPr id="11" name="TextBox 10">
            <a:extLst>
              <a:ext uri="{FF2B5EF4-FFF2-40B4-BE49-F238E27FC236}">
                <a16:creationId xmlns:a16="http://schemas.microsoft.com/office/drawing/2014/main" id="{8984257E-D2AE-E104-AB16-0E9594690D53}"/>
              </a:ext>
            </a:extLst>
          </p:cNvPr>
          <p:cNvSpPr txBox="1"/>
          <p:nvPr/>
        </p:nvSpPr>
        <p:spPr>
          <a:xfrm>
            <a:off x="6297135" y="3405427"/>
            <a:ext cx="1611983" cy="461665"/>
          </a:xfrm>
          <a:prstGeom prst="rect">
            <a:avLst/>
          </a:prstGeom>
          <a:noFill/>
        </p:spPr>
        <p:txBody>
          <a:bodyPr wrap="square" rtlCol="0">
            <a:spAutoFit/>
          </a:bodyPr>
          <a:lstStyle/>
          <a:p>
            <a:r>
              <a:rPr lang="en-US" sz="1200" b="1">
                <a:solidFill>
                  <a:schemeClr val="tx1">
                    <a:lumMod val="50000"/>
                    <a:lumOff val="50000"/>
                  </a:schemeClr>
                </a:solidFill>
              </a:rPr>
              <a:t>STRUCTURED AND FORMALIZED</a:t>
            </a:r>
          </a:p>
        </p:txBody>
      </p:sp>
      <p:sp>
        <p:nvSpPr>
          <p:cNvPr id="12" name="TextBox 11">
            <a:extLst>
              <a:ext uri="{FF2B5EF4-FFF2-40B4-BE49-F238E27FC236}">
                <a16:creationId xmlns:a16="http://schemas.microsoft.com/office/drawing/2014/main" id="{E753D3D6-C833-E397-9F58-03AB0FB8C591}"/>
              </a:ext>
            </a:extLst>
          </p:cNvPr>
          <p:cNvSpPr txBox="1"/>
          <p:nvPr/>
        </p:nvSpPr>
        <p:spPr>
          <a:xfrm>
            <a:off x="4547861" y="3855941"/>
            <a:ext cx="1425019" cy="461665"/>
          </a:xfrm>
          <a:prstGeom prst="rect">
            <a:avLst/>
          </a:prstGeom>
          <a:noFill/>
        </p:spPr>
        <p:txBody>
          <a:bodyPr wrap="square" rtlCol="0">
            <a:spAutoFit/>
          </a:bodyPr>
          <a:lstStyle/>
          <a:p>
            <a:r>
              <a:rPr lang="en-US" sz="1200" b="1">
                <a:solidFill>
                  <a:schemeClr val="tx1">
                    <a:lumMod val="50000"/>
                    <a:lumOff val="50000"/>
                  </a:schemeClr>
                </a:solidFill>
              </a:rPr>
              <a:t>REPEATABLE BUT INFORMAL</a:t>
            </a:r>
          </a:p>
        </p:txBody>
      </p:sp>
      <p:sp>
        <p:nvSpPr>
          <p:cNvPr id="13" name="TextBox 12">
            <a:extLst>
              <a:ext uri="{FF2B5EF4-FFF2-40B4-BE49-F238E27FC236}">
                <a16:creationId xmlns:a16="http://schemas.microsoft.com/office/drawing/2014/main" id="{477CE484-2D70-2345-2CFE-2B9EC4396409}"/>
              </a:ext>
            </a:extLst>
          </p:cNvPr>
          <p:cNvSpPr txBox="1"/>
          <p:nvPr/>
        </p:nvSpPr>
        <p:spPr>
          <a:xfrm>
            <a:off x="2809861" y="4280316"/>
            <a:ext cx="1425019" cy="276999"/>
          </a:xfrm>
          <a:prstGeom prst="rect">
            <a:avLst/>
          </a:prstGeom>
          <a:noFill/>
        </p:spPr>
        <p:txBody>
          <a:bodyPr wrap="square" rtlCol="0">
            <a:spAutoFit/>
          </a:bodyPr>
          <a:lstStyle/>
          <a:p>
            <a:r>
              <a:rPr lang="en-US" sz="1200" b="1">
                <a:solidFill>
                  <a:schemeClr val="tx1">
                    <a:lumMod val="50000"/>
                    <a:lumOff val="50000"/>
                  </a:schemeClr>
                </a:solidFill>
              </a:rPr>
              <a:t>AD-HOC</a:t>
            </a:r>
          </a:p>
        </p:txBody>
      </p:sp>
      <p:sp>
        <p:nvSpPr>
          <p:cNvPr id="14" name="TextBox 13">
            <a:extLst>
              <a:ext uri="{FF2B5EF4-FFF2-40B4-BE49-F238E27FC236}">
                <a16:creationId xmlns:a16="http://schemas.microsoft.com/office/drawing/2014/main" id="{DCBCD3E2-D9FC-C29F-47CB-608B9956D8DD}"/>
              </a:ext>
            </a:extLst>
          </p:cNvPr>
          <p:cNvSpPr txBox="1"/>
          <p:nvPr/>
        </p:nvSpPr>
        <p:spPr>
          <a:xfrm>
            <a:off x="1071138" y="4724359"/>
            <a:ext cx="1577202" cy="276999"/>
          </a:xfrm>
          <a:prstGeom prst="rect">
            <a:avLst/>
          </a:prstGeom>
          <a:noFill/>
        </p:spPr>
        <p:txBody>
          <a:bodyPr wrap="square" rtlCol="0">
            <a:spAutoFit/>
          </a:bodyPr>
          <a:lstStyle/>
          <a:p>
            <a:r>
              <a:rPr lang="en-US" sz="1200" b="1">
                <a:solidFill>
                  <a:schemeClr val="tx1">
                    <a:lumMod val="50000"/>
                    <a:lumOff val="50000"/>
                  </a:schemeClr>
                </a:solidFill>
              </a:rPr>
              <a:t>AD-HOC</a:t>
            </a:r>
          </a:p>
        </p:txBody>
      </p:sp>
      <p:sp>
        <p:nvSpPr>
          <p:cNvPr id="15" name="TextBox 14">
            <a:extLst>
              <a:ext uri="{FF2B5EF4-FFF2-40B4-BE49-F238E27FC236}">
                <a16:creationId xmlns:a16="http://schemas.microsoft.com/office/drawing/2014/main" id="{583586EC-489C-4862-CA9E-AEC34E580E17}"/>
              </a:ext>
            </a:extLst>
          </p:cNvPr>
          <p:cNvSpPr txBox="1"/>
          <p:nvPr/>
        </p:nvSpPr>
        <p:spPr>
          <a:xfrm>
            <a:off x="7971357" y="3432715"/>
            <a:ext cx="1952015" cy="1754326"/>
          </a:xfrm>
          <a:prstGeom prst="rect">
            <a:avLst/>
          </a:prstGeom>
          <a:noFill/>
        </p:spPr>
        <p:txBody>
          <a:bodyPr wrap="square">
            <a:spAutoFit/>
          </a:bodyPr>
          <a:lstStyle/>
          <a:p>
            <a:pPr marL="84138" marR="0" lvl="0" indent="-841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The effectiveness of the </a:t>
            </a:r>
            <a:r>
              <a:rPr lang="en-US" sz="1200">
                <a:solidFill>
                  <a:schemeClr val="bg1">
                    <a:lumMod val="50000"/>
                  </a:schemeClr>
                </a:solidFill>
              </a:rPr>
              <a:t>cybersecurity</a:t>
            </a: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 controls are periodically assessed and improved when necessary.</a:t>
            </a:r>
          </a:p>
          <a:p>
            <a:pPr marL="84138" marR="0" lvl="0" indent="-841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This periodic measurement, evaluations and opportunities for improvement are documented.</a:t>
            </a:r>
            <a:endParaRPr kumimoji="0" lang="en-GB" sz="1200" b="0" i="0" u="none" strike="noStrike" kern="1200" cap="none" spc="0" normalizeH="0" baseline="0" noProof="0">
              <a:ln>
                <a:noFill/>
              </a:ln>
              <a:solidFill>
                <a:prstClr val="white">
                  <a:lumMod val="50000"/>
                </a:prstClr>
              </a:solidFill>
              <a:effectLst/>
              <a:uLnTx/>
              <a:uFillTx/>
              <a:latin typeface="Calibri"/>
              <a:ea typeface="+mn-ea"/>
              <a:cs typeface="+mn-cs"/>
            </a:endParaRPr>
          </a:p>
        </p:txBody>
      </p:sp>
      <p:sp>
        <p:nvSpPr>
          <p:cNvPr id="16" name="TextBox 15">
            <a:extLst>
              <a:ext uri="{FF2B5EF4-FFF2-40B4-BE49-F238E27FC236}">
                <a16:creationId xmlns:a16="http://schemas.microsoft.com/office/drawing/2014/main" id="{7EAF3D4A-8082-1355-FC2F-2E37D45D6C42}"/>
              </a:ext>
            </a:extLst>
          </p:cNvPr>
          <p:cNvSpPr txBox="1"/>
          <p:nvPr/>
        </p:nvSpPr>
        <p:spPr>
          <a:xfrm>
            <a:off x="9759056" y="2786384"/>
            <a:ext cx="1668898" cy="830997"/>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subject to a continuous improvement plan.</a:t>
            </a:r>
            <a:endParaRPr lang="en-GB" sz="1200">
              <a:solidFill>
                <a:schemeClr val="bg1">
                  <a:lumMod val="50000"/>
                </a:schemeClr>
              </a:solidFill>
            </a:endParaRPr>
          </a:p>
        </p:txBody>
      </p:sp>
      <p:sp>
        <p:nvSpPr>
          <p:cNvPr id="17" name="TextBox 16">
            <a:extLst>
              <a:ext uri="{FF2B5EF4-FFF2-40B4-BE49-F238E27FC236}">
                <a16:creationId xmlns:a16="http://schemas.microsoft.com/office/drawing/2014/main" id="{2D388E14-49DE-2199-E5F0-AC14F08BBF82}"/>
              </a:ext>
            </a:extLst>
          </p:cNvPr>
          <p:cNvSpPr txBox="1"/>
          <p:nvPr/>
        </p:nvSpPr>
        <p:spPr>
          <a:xfrm>
            <a:off x="6235074" y="3836883"/>
            <a:ext cx="1811698" cy="1569660"/>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defined, approved and implemented in a structured and formalized way.</a:t>
            </a:r>
          </a:p>
          <a:p>
            <a:pPr marL="84138" indent="-84138">
              <a:buFont typeface="Arial" panose="020B0604020202020204" pitchFamily="34" charset="0"/>
              <a:buChar char="•"/>
            </a:pPr>
            <a:r>
              <a:rPr lang="en-US" sz="1200">
                <a:solidFill>
                  <a:schemeClr val="bg1">
                    <a:lumMod val="50000"/>
                  </a:schemeClr>
                </a:solidFill>
              </a:rPr>
              <a:t>The implementation of cybersecurity controls can be demonstrated.</a:t>
            </a:r>
            <a:endParaRPr lang="en-GB" sz="1200">
              <a:solidFill>
                <a:schemeClr val="bg1">
                  <a:lumMod val="50000"/>
                </a:schemeClr>
              </a:solidFill>
            </a:endParaRPr>
          </a:p>
        </p:txBody>
      </p:sp>
      <p:sp>
        <p:nvSpPr>
          <p:cNvPr id="18" name="TextBox 17">
            <a:extLst>
              <a:ext uri="{FF2B5EF4-FFF2-40B4-BE49-F238E27FC236}">
                <a16:creationId xmlns:a16="http://schemas.microsoft.com/office/drawing/2014/main" id="{AE1F4CA4-5965-3C93-516F-421099AB98B6}"/>
              </a:ext>
            </a:extLst>
          </p:cNvPr>
          <p:cNvSpPr txBox="1"/>
          <p:nvPr/>
        </p:nvSpPr>
        <p:spPr>
          <a:xfrm>
            <a:off x="4481168" y="4287523"/>
            <a:ext cx="1668898" cy="1200329"/>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The execution of the cybersecurity control is based on an informal and unwritten, though standardized, practice.</a:t>
            </a:r>
            <a:endParaRPr lang="en-GB" sz="1200">
              <a:solidFill>
                <a:schemeClr val="bg1">
                  <a:lumMod val="50000"/>
                </a:schemeClr>
              </a:solidFill>
            </a:endParaRPr>
          </a:p>
        </p:txBody>
      </p:sp>
      <p:sp>
        <p:nvSpPr>
          <p:cNvPr id="19" name="TextBox 18">
            <a:extLst>
              <a:ext uri="{FF2B5EF4-FFF2-40B4-BE49-F238E27FC236}">
                <a16:creationId xmlns:a16="http://schemas.microsoft.com/office/drawing/2014/main" id="{2E590F8F-176D-D0BE-DD42-A9C6D4B37D3B}"/>
              </a:ext>
            </a:extLst>
          </p:cNvPr>
          <p:cNvSpPr txBox="1"/>
          <p:nvPr/>
        </p:nvSpPr>
        <p:spPr>
          <a:xfrm>
            <a:off x="2739593" y="4481649"/>
            <a:ext cx="1784606" cy="1569660"/>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not or partially defined.</a:t>
            </a:r>
          </a:p>
          <a:p>
            <a:pPr marL="84138" indent="-84138">
              <a:buFont typeface="Arial" panose="020B0604020202020204" pitchFamily="34" charset="0"/>
              <a:buChar char="•"/>
            </a:pPr>
            <a:r>
              <a:rPr lang="en-US" sz="1200">
                <a:solidFill>
                  <a:schemeClr val="bg1">
                    <a:lumMod val="50000"/>
                  </a:schemeClr>
                </a:solidFill>
              </a:rPr>
              <a:t>Cybersecurity controls are performed in an inconsistent way.</a:t>
            </a:r>
          </a:p>
          <a:p>
            <a:pPr marL="84138" indent="-84138">
              <a:buFont typeface="Arial" panose="020B0604020202020204" pitchFamily="34" charset="0"/>
              <a:buChar char="•"/>
            </a:pPr>
            <a:r>
              <a:rPr lang="en-US" sz="1200">
                <a:solidFill>
                  <a:schemeClr val="bg1">
                    <a:lumMod val="50000"/>
                  </a:schemeClr>
                </a:solidFill>
              </a:rPr>
              <a:t>Cybersecurity controls are not fully defined.</a:t>
            </a:r>
            <a:endParaRPr lang="en-GB" sz="1200">
              <a:solidFill>
                <a:schemeClr val="bg1">
                  <a:lumMod val="50000"/>
                </a:schemeClr>
              </a:solidFill>
            </a:endParaRPr>
          </a:p>
        </p:txBody>
      </p:sp>
      <p:sp>
        <p:nvSpPr>
          <p:cNvPr id="20" name="TextBox 19">
            <a:extLst>
              <a:ext uri="{FF2B5EF4-FFF2-40B4-BE49-F238E27FC236}">
                <a16:creationId xmlns:a16="http://schemas.microsoft.com/office/drawing/2014/main" id="{956CA16C-E2DF-B2DA-3814-893FBFEC6FC8}"/>
              </a:ext>
            </a:extLst>
          </p:cNvPr>
          <p:cNvSpPr txBox="1"/>
          <p:nvPr/>
        </p:nvSpPr>
        <p:spPr>
          <a:xfrm>
            <a:off x="1022471" y="4967505"/>
            <a:ext cx="1668899" cy="1015663"/>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No documentation.</a:t>
            </a:r>
          </a:p>
          <a:p>
            <a:pPr marL="84138" indent="-84138">
              <a:buFont typeface="Arial" panose="020B0604020202020204" pitchFamily="34" charset="0"/>
              <a:buChar char="•"/>
            </a:pPr>
            <a:r>
              <a:rPr lang="en-US" sz="1200">
                <a:solidFill>
                  <a:schemeClr val="bg1">
                    <a:lumMod val="50000"/>
                  </a:schemeClr>
                </a:solidFill>
              </a:rPr>
              <a:t>There is no awareness or attention for certain cybersecurity control.</a:t>
            </a:r>
            <a:endParaRPr lang="en-GB" sz="1200">
              <a:solidFill>
                <a:schemeClr val="bg1">
                  <a:lumMod val="50000"/>
                </a:schemeClr>
              </a:solidFill>
            </a:endParaRPr>
          </a:p>
        </p:txBody>
      </p:sp>
    </p:spTree>
    <p:extLst>
      <p:ext uri="{BB962C8B-B14F-4D97-AF65-F5344CB8AC3E}">
        <p14:creationId xmlns:p14="http://schemas.microsoft.com/office/powerpoint/2010/main" val="266295233"/>
      </p:ext>
    </p:extLst>
  </p:cSld>
  <p:clrMapOvr>
    <a:masterClrMapping/>
  </p:clrMapOvr>
  <p:extLst>
    <p:ext uri="{6950BFC3-D8DA-4A85-94F7-54DA5524770B}">
      <p188:commentRel xmlns:p188="http://schemas.microsoft.com/office/powerpoint/2018/8/main" r:id="rId2"/>
    </p:ext>
  </p:extLs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
            <a:extLst>
              <a:ext uri="{FF2B5EF4-FFF2-40B4-BE49-F238E27FC236}">
                <a16:creationId xmlns:a16="http://schemas.microsoft.com/office/drawing/2014/main" id="{348B41AB-FE3D-9F87-9364-0E309ED17D8A}"/>
              </a:ext>
            </a:extLst>
          </p:cNvPr>
          <p:cNvSpPr/>
          <p:nvPr/>
        </p:nvSpPr>
        <p:spPr>
          <a:xfrm>
            <a:off x="768" y="0"/>
            <a:ext cx="2881157" cy="6516710"/>
          </a:xfrm>
          <a:custGeom>
            <a:avLst/>
            <a:gdLst>
              <a:gd name="connsiteX0" fmla="*/ 0 w 2868278"/>
              <a:gd name="connsiteY0" fmla="*/ 0 h 6516710"/>
              <a:gd name="connsiteX1" fmla="*/ 2868278 w 2868278"/>
              <a:gd name="connsiteY1" fmla="*/ 0 h 6516710"/>
              <a:gd name="connsiteX2" fmla="*/ 2868278 w 2868278"/>
              <a:gd name="connsiteY2" fmla="*/ 6516710 h 6516710"/>
              <a:gd name="connsiteX3" fmla="*/ 0 w 2868278"/>
              <a:gd name="connsiteY3" fmla="*/ 6516710 h 6516710"/>
              <a:gd name="connsiteX4" fmla="*/ 0 w 2868278"/>
              <a:gd name="connsiteY4" fmla="*/ 0 h 6516710"/>
              <a:gd name="connsiteX0" fmla="*/ 0 w 2868278"/>
              <a:gd name="connsiteY0" fmla="*/ 0 h 6516710"/>
              <a:gd name="connsiteX1" fmla="*/ 2868278 w 2868278"/>
              <a:gd name="connsiteY1" fmla="*/ 0 h 6516710"/>
              <a:gd name="connsiteX2" fmla="*/ 2868278 w 2868278"/>
              <a:gd name="connsiteY2" fmla="*/ 6516710 h 6516710"/>
              <a:gd name="connsiteX3" fmla="*/ 2228045 w 2868278"/>
              <a:gd name="connsiteY3" fmla="*/ 6516710 h 6516710"/>
              <a:gd name="connsiteX4" fmla="*/ 0 w 2868278"/>
              <a:gd name="connsiteY4" fmla="*/ 6516710 h 6516710"/>
              <a:gd name="connsiteX5" fmla="*/ 0 w 2868278"/>
              <a:gd name="connsiteY5" fmla="*/ 0 h 6516710"/>
              <a:gd name="connsiteX0" fmla="*/ 0 w 2868278"/>
              <a:gd name="connsiteY0" fmla="*/ 0 h 6516710"/>
              <a:gd name="connsiteX1" fmla="*/ 2868278 w 2868278"/>
              <a:gd name="connsiteY1" fmla="*/ 0 h 6516710"/>
              <a:gd name="connsiteX2" fmla="*/ 2868278 w 2868278"/>
              <a:gd name="connsiteY2" fmla="*/ 6516710 h 6516710"/>
              <a:gd name="connsiteX3" fmla="*/ 2228045 w 2868278"/>
              <a:gd name="connsiteY3" fmla="*/ 6516710 h 6516710"/>
              <a:gd name="connsiteX4" fmla="*/ 1030310 w 2868278"/>
              <a:gd name="connsiteY4" fmla="*/ 6516710 h 6516710"/>
              <a:gd name="connsiteX5" fmla="*/ 0 w 2868278"/>
              <a:gd name="connsiteY5" fmla="*/ 6516710 h 6516710"/>
              <a:gd name="connsiteX6" fmla="*/ 0 w 2868278"/>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043189 w 2881157"/>
              <a:gd name="connsiteY4" fmla="*/ 6516710 h 6516710"/>
              <a:gd name="connsiteX5" fmla="*/ 0 w 2881157"/>
              <a:gd name="connsiteY5" fmla="*/ 6362163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043189 w 2881157"/>
              <a:gd name="connsiteY4" fmla="*/ 6516710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532586 w 2881157"/>
              <a:gd name="connsiteY4" fmla="*/ 6117465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468192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468192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19707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481070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194738 h 6516710"/>
              <a:gd name="connsiteX5" fmla="*/ 0 w 2881157"/>
              <a:gd name="connsiteY5" fmla="*/ 6210434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223313 h 6516710"/>
              <a:gd name="connsiteX5" fmla="*/ 0 w 2881157"/>
              <a:gd name="connsiteY5" fmla="*/ 6210434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223313 h 6516710"/>
              <a:gd name="connsiteX5" fmla="*/ 0 w 2881157"/>
              <a:gd name="connsiteY5" fmla="*/ 6210434 h 6516710"/>
              <a:gd name="connsiteX6" fmla="*/ 12879 w 2881157"/>
              <a:gd name="connsiteY6" fmla="*/ 0 h 6516710"/>
              <a:gd name="connsiteX0" fmla="*/ 12879 w 2881157"/>
              <a:gd name="connsiteY0" fmla="*/ 0 h 6545285"/>
              <a:gd name="connsiteX1" fmla="*/ 2881157 w 2881157"/>
              <a:gd name="connsiteY1" fmla="*/ 0 h 6545285"/>
              <a:gd name="connsiteX2" fmla="*/ 2881157 w 2881157"/>
              <a:gd name="connsiteY2" fmla="*/ 6516710 h 6545285"/>
              <a:gd name="connsiteX3" fmla="*/ 1754881 w 2881157"/>
              <a:gd name="connsiteY3" fmla="*/ 6545285 h 6545285"/>
              <a:gd name="connsiteX4" fmla="*/ 1500120 w 2881157"/>
              <a:gd name="connsiteY4" fmla="*/ 6223313 h 6545285"/>
              <a:gd name="connsiteX5" fmla="*/ 0 w 2881157"/>
              <a:gd name="connsiteY5" fmla="*/ 6210434 h 6545285"/>
              <a:gd name="connsiteX6" fmla="*/ 12879 w 2881157"/>
              <a:gd name="connsiteY6" fmla="*/ 0 h 6545285"/>
              <a:gd name="connsiteX0" fmla="*/ 12879 w 2881157"/>
              <a:gd name="connsiteY0" fmla="*/ 0 h 6545285"/>
              <a:gd name="connsiteX1" fmla="*/ 2881157 w 2881157"/>
              <a:gd name="connsiteY1" fmla="*/ 0 h 6545285"/>
              <a:gd name="connsiteX2" fmla="*/ 2881157 w 2881157"/>
              <a:gd name="connsiteY2" fmla="*/ 6535760 h 6545285"/>
              <a:gd name="connsiteX3" fmla="*/ 1754881 w 2881157"/>
              <a:gd name="connsiteY3" fmla="*/ 6545285 h 6545285"/>
              <a:gd name="connsiteX4" fmla="*/ 1500120 w 2881157"/>
              <a:gd name="connsiteY4" fmla="*/ 6223313 h 6545285"/>
              <a:gd name="connsiteX5" fmla="*/ 0 w 2881157"/>
              <a:gd name="connsiteY5" fmla="*/ 6210434 h 6545285"/>
              <a:gd name="connsiteX6" fmla="*/ 12879 w 2881157"/>
              <a:gd name="connsiteY6" fmla="*/ 0 h 654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81157" h="6545285">
                <a:moveTo>
                  <a:pt x="12879" y="0"/>
                </a:moveTo>
                <a:lnTo>
                  <a:pt x="2881157" y="0"/>
                </a:lnTo>
                <a:lnTo>
                  <a:pt x="2881157" y="6535760"/>
                </a:lnTo>
                <a:lnTo>
                  <a:pt x="1754881" y="6545285"/>
                </a:lnTo>
                <a:lnTo>
                  <a:pt x="1500120" y="6223313"/>
                </a:lnTo>
                <a:lnTo>
                  <a:pt x="0" y="6210434"/>
                </a:lnTo>
                <a:lnTo>
                  <a:pt x="12879" y="0"/>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42" name="TextBox 5">
            <a:extLst>
              <a:ext uri="{FF2B5EF4-FFF2-40B4-BE49-F238E27FC236}">
                <a16:creationId xmlns:a16="http://schemas.microsoft.com/office/drawing/2014/main" id="{D8294300-04E6-670D-0925-C4DA74472B13}"/>
              </a:ext>
            </a:extLst>
          </p:cNvPr>
          <p:cNvSpPr txBox="1"/>
          <p:nvPr/>
        </p:nvSpPr>
        <p:spPr>
          <a:xfrm>
            <a:off x="374299" y="928943"/>
            <a:ext cx="2448402" cy="1731243"/>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SAMA CSF </a:t>
            </a:r>
          </a:p>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 </a:t>
            </a:r>
          </a:p>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DOMAINS</a:t>
            </a:r>
          </a:p>
        </p:txBody>
      </p:sp>
      <p:sp>
        <p:nvSpPr>
          <p:cNvPr id="43" name="AutoShape 6">
            <a:extLst>
              <a:ext uri="{FF2B5EF4-FFF2-40B4-BE49-F238E27FC236}">
                <a16:creationId xmlns:a16="http://schemas.microsoft.com/office/drawing/2014/main" id="{193B4C6A-CC7D-5128-EA6B-10C25450AF2F}"/>
              </a:ext>
            </a:extLst>
          </p:cNvPr>
          <p:cNvSpPr/>
          <p:nvPr/>
        </p:nvSpPr>
        <p:spPr>
          <a:xfrm>
            <a:off x="419456" y="3372027"/>
            <a:ext cx="306711" cy="64007"/>
          </a:xfrm>
          <a:prstGeom prst="rect">
            <a:avLst/>
          </a:prstGeom>
          <a:solidFill>
            <a:srgbClr val="CCB76A"/>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sp>
        <p:nvSpPr>
          <p:cNvPr id="44" name="Freeform 12">
            <a:extLst>
              <a:ext uri="{FF2B5EF4-FFF2-40B4-BE49-F238E27FC236}">
                <a16:creationId xmlns:a16="http://schemas.microsoft.com/office/drawing/2014/main" id="{7BED8122-258F-5352-70AE-0158BF285514}"/>
              </a:ext>
            </a:extLst>
          </p:cNvPr>
          <p:cNvSpPr/>
          <p:nvPr/>
        </p:nvSpPr>
        <p:spPr>
          <a:xfrm>
            <a:off x="374299"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3" name="Diagram 2">
            <a:extLst>
              <a:ext uri="{FF2B5EF4-FFF2-40B4-BE49-F238E27FC236}">
                <a16:creationId xmlns:a16="http://schemas.microsoft.com/office/drawing/2014/main" id="{543C9E87-1DFA-798A-5CE5-0270B54734AF}"/>
              </a:ext>
            </a:extLst>
          </p:cNvPr>
          <p:cNvGraphicFramePr/>
          <p:nvPr>
            <p:extLst>
              <p:ext uri="{D42A27DB-BD31-4B8C-83A1-F6EECF244321}">
                <p14:modId xmlns:p14="http://schemas.microsoft.com/office/powerpoint/2010/main" val="4087598847"/>
              </p:ext>
            </p:extLst>
          </p:nvPr>
        </p:nvGraphicFramePr>
        <p:xfrm>
          <a:off x="3069109" y="194719"/>
          <a:ext cx="2773029" cy="399150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7" name="Diagram 6">
            <a:extLst>
              <a:ext uri="{FF2B5EF4-FFF2-40B4-BE49-F238E27FC236}">
                <a16:creationId xmlns:a16="http://schemas.microsoft.com/office/drawing/2014/main" id="{3F224212-C3A2-7539-CD8A-B8A0B082FA22}"/>
              </a:ext>
            </a:extLst>
          </p:cNvPr>
          <p:cNvGraphicFramePr/>
          <p:nvPr>
            <p:extLst>
              <p:ext uri="{D42A27DB-BD31-4B8C-83A1-F6EECF244321}">
                <p14:modId xmlns:p14="http://schemas.microsoft.com/office/powerpoint/2010/main" val="288865722"/>
              </p:ext>
            </p:extLst>
          </p:nvPr>
        </p:nvGraphicFramePr>
        <p:xfrm>
          <a:off x="8771761" y="3583464"/>
          <a:ext cx="2773028" cy="246167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5" name="Diagram 14">
            <a:extLst>
              <a:ext uri="{FF2B5EF4-FFF2-40B4-BE49-F238E27FC236}">
                <a16:creationId xmlns:a16="http://schemas.microsoft.com/office/drawing/2014/main" id="{B6336F70-29C5-6FBD-E4F6-E5F5D2E6A3F5}"/>
              </a:ext>
            </a:extLst>
          </p:cNvPr>
          <p:cNvGraphicFramePr/>
          <p:nvPr>
            <p:extLst>
              <p:ext uri="{D42A27DB-BD31-4B8C-83A1-F6EECF244321}">
                <p14:modId xmlns:p14="http://schemas.microsoft.com/office/powerpoint/2010/main" val="1647472860"/>
              </p:ext>
            </p:extLst>
          </p:nvPr>
        </p:nvGraphicFramePr>
        <p:xfrm>
          <a:off x="8764053" y="-191579"/>
          <a:ext cx="2773029" cy="4141258"/>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aphicFrame>
        <p:nvGraphicFramePr>
          <p:cNvPr id="22" name="Diagram 21">
            <a:extLst>
              <a:ext uri="{FF2B5EF4-FFF2-40B4-BE49-F238E27FC236}">
                <a16:creationId xmlns:a16="http://schemas.microsoft.com/office/drawing/2014/main" id="{F30EE96A-D759-9349-5CCE-B2DC8783F640}"/>
              </a:ext>
            </a:extLst>
          </p:cNvPr>
          <p:cNvGraphicFramePr/>
          <p:nvPr>
            <p:extLst>
              <p:ext uri="{D42A27DB-BD31-4B8C-83A1-F6EECF244321}">
                <p14:modId xmlns:p14="http://schemas.microsoft.com/office/powerpoint/2010/main" val="1252965330"/>
              </p:ext>
            </p:extLst>
          </p:nvPr>
        </p:nvGraphicFramePr>
        <p:xfrm>
          <a:off x="5839366" y="194720"/>
          <a:ext cx="2773029" cy="6234656"/>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sp>
        <p:nvSpPr>
          <p:cNvPr id="41" name="Rectangle: Rounded Corners 40">
            <a:extLst>
              <a:ext uri="{FF2B5EF4-FFF2-40B4-BE49-F238E27FC236}">
                <a16:creationId xmlns:a16="http://schemas.microsoft.com/office/drawing/2014/main" id="{FD8DCFFB-44FF-8404-2480-2EB65C96923B}"/>
              </a:ext>
            </a:extLst>
          </p:cNvPr>
          <p:cNvSpPr/>
          <p:nvPr/>
        </p:nvSpPr>
        <p:spPr>
          <a:xfrm flipH="1">
            <a:off x="3723861" y="5855165"/>
            <a:ext cx="2013115" cy="378000"/>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a:r>
              <a:rPr lang="en-GB" sz="1100">
                <a:solidFill>
                  <a:srgbClr val="000000"/>
                </a:solidFill>
                <a:latin typeface="Calibri"/>
              </a:rPr>
              <a:t>3.3.13 Electronic Banking Services</a:t>
            </a:r>
          </a:p>
          <a:p>
            <a:pPr algn="ctr"/>
            <a:endParaRPr lang="en-GB"/>
          </a:p>
        </p:txBody>
      </p:sp>
      <p:sp>
        <p:nvSpPr>
          <p:cNvPr id="38" name="Rectangle: Rounded Corners 37">
            <a:extLst>
              <a:ext uri="{FF2B5EF4-FFF2-40B4-BE49-F238E27FC236}">
                <a16:creationId xmlns:a16="http://schemas.microsoft.com/office/drawing/2014/main" id="{6A4F46A8-5F5D-89FB-9B02-6E106864761B}"/>
              </a:ext>
            </a:extLst>
          </p:cNvPr>
          <p:cNvSpPr/>
          <p:nvPr/>
        </p:nvSpPr>
        <p:spPr>
          <a:xfrm flipH="1">
            <a:off x="3723861" y="4432250"/>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4 Cyber Security Event Management</a:t>
            </a:r>
          </a:p>
          <a:p>
            <a:pPr algn="ctr"/>
            <a:endParaRPr lang="en-GB"/>
          </a:p>
        </p:txBody>
      </p:sp>
      <p:sp>
        <p:nvSpPr>
          <p:cNvPr id="36" name="Rectangle: Rounded Corners 35">
            <a:extLst>
              <a:ext uri="{FF2B5EF4-FFF2-40B4-BE49-F238E27FC236}">
                <a16:creationId xmlns:a16="http://schemas.microsoft.com/office/drawing/2014/main" id="{46FE2C90-05C2-DC47-B052-F6C7A1B29667}"/>
              </a:ext>
            </a:extLst>
          </p:cNvPr>
          <p:cNvSpPr/>
          <p:nvPr/>
        </p:nvSpPr>
        <p:spPr>
          <a:xfrm flipH="1">
            <a:off x="3723861" y="4906156"/>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5 Cyber Security Incident Management</a:t>
            </a:r>
          </a:p>
          <a:p>
            <a:pPr algn="ctr"/>
            <a:endParaRPr lang="en-GB"/>
          </a:p>
        </p:txBody>
      </p:sp>
      <p:sp>
        <p:nvSpPr>
          <p:cNvPr id="32" name="Rectangle: Rounded Corners 31">
            <a:extLst>
              <a:ext uri="{FF2B5EF4-FFF2-40B4-BE49-F238E27FC236}">
                <a16:creationId xmlns:a16="http://schemas.microsoft.com/office/drawing/2014/main" id="{45AD2F59-D640-4821-5042-E3120C1310E2}"/>
              </a:ext>
            </a:extLst>
          </p:cNvPr>
          <p:cNvSpPr/>
          <p:nvPr/>
        </p:nvSpPr>
        <p:spPr>
          <a:xfrm flipH="1">
            <a:off x="3723861" y="5380062"/>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6 Threat Management </a:t>
            </a:r>
          </a:p>
          <a:p>
            <a:pPr algn="ctr"/>
            <a:endParaRPr lang="en-GB"/>
          </a:p>
        </p:txBody>
      </p:sp>
      <p:cxnSp>
        <p:nvCxnSpPr>
          <p:cNvPr id="60" name="Straight Connector 59">
            <a:extLst>
              <a:ext uri="{FF2B5EF4-FFF2-40B4-BE49-F238E27FC236}">
                <a16:creationId xmlns:a16="http://schemas.microsoft.com/office/drawing/2014/main" id="{070F55FC-8414-B6C8-50CB-D512726F3F55}"/>
              </a:ext>
            </a:extLst>
          </p:cNvPr>
          <p:cNvCxnSpPr>
            <a:stCxn id="38" idx="1"/>
          </p:cNvCxnSpPr>
          <p:nvPr/>
        </p:nvCxnSpPr>
        <p:spPr>
          <a:xfrm>
            <a:off x="5736976" y="4621813"/>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1F26C162-25C1-BAB2-3F5F-BC4F5623E631}"/>
              </a:ext>
            </a:extLst>
          </p:cNvPr>
          <p:cNvCxnSpPr/>
          <p:nvPr/>
        </p:nvCxnSpPr>
        <p:spPr>
          <a:xfrm>
            <a:off x="5736976" y="5107588"/>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8122623D-2375-E211-87FC-31F8FA4371E2}"/>
              </a:ext>
            </a:extLst>
          </p:cNvPr>
          <p:cNvCxnSpPr/>
          <p:nvPr/>
        </p:nvCxnSpPr>
        <p:spPr>
          <a:xfrm>
            <a:off x="5736976" y="5593363"/>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44C877DE-FEA4-37C8-9C10-812B4AD6234F}"/>
              </a:ext>
            </a:extLst>
          </p:cNvPr>
          <p:cNvCxnSpPr/>
          <p:nvPr/>
        </p:nvCxnSpPr>
        <p:spPr>
          <a:xfrm>
            <a:off x="5736976" y="6045138"/>
            <a:ext cx="54000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148404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a:xfrm>
            <a:off x="344631" y="4474029"/>
            <a:ext cx="5544539" cy="1569585"/>
          </a:xfrm>
        </p:spPr>
        <p:txBody>
          <a:bodyPr anchor="b">
            <a:normAutofit/>
          </a:bodyPr>
          <a:lstStyle/>
          <a:p>
            <a:r>
              <a:rPr lang="en-GB" sz="3600">
                <a:ea typeface="Calibri"/>
                <a:cs typeface="Calibri"/>
              </a:rPr>
              <a:t>DELIVERY METHODOLOGY</a:t>
            </a:r>
          </a:p>
        </p:txBody>
      </p:sp>
    </p:spTree>
    <p:extLst>
      <p:ext uri="{BB962C8B-B14F-4D97-AF65-F5344CB8AC3E}">
        <p14:creationId xmlns:p14="http://schemas.microsoft.com/office/powerpoint/2010/main" val="374026612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F15E76-0BC4-0E25-E690-98E448D608C5}"/>
              </a:ext>
            </a:extLst>
          </p:cNvPr>
          <p:cNvSpPr>
            <a:spLocks noGrp="1"/>
          </p:cNvSpPr>
          <p:nvPr>
            <p:ph type="body" sz="quarter" idx="14"/>
          </p:nvPr>
        </p:nvSpPr>
        <p:spPr/>
        <p:txBody>
          <a:bodyPr>
            <a:normAutofit/>
          </a:bodyPr>
          <a:lstStyle/>
          <a:p>
            <a:r>
              <a:rPr lang="en-US" sz="3600">
                <a:ea typeface="Calibri"/>
                <a:cs typeface="Calibri"/>
              </a:rPr>
              <a:t>AUDIT METHODOLOGY</a:t>
            </a:r>
          </a:p>
        </p:txBody>
      </p:sp>
      <p:sp>
        <p:nvSpPr>
          <p:cNvPr id="16" name="Freeform 12">
            <a:extLst>
              <a:ext uri="{FF2B5EF4-FFF2-40B4-BE49-F238E27FC236}">
                <a16:creationId xmlns:a16="http://schemas.microsoft.com/office/drawing/2014/main" id="{5790CD83-E0E2-40B0-ED5B-5E1CAEE9768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19" name="Diagram 18">
            <a:extLst>
              <a:ext uri="{FF2B5EF4-FFF2-40B4-BE49-F238E27FC236}">
                <a16:creationId xmlns:a16="http://schemas.microsoft.com/office/drawing/2014/main" id="{01671568-BD3C-D861-F4C8-DE52CB85D477}"/>
              </a:ext>
            </a:extLst>
          </p:cNvPr>
          <p:cNvGraphicFramePr/>
          <p:nvPr/>
        </p:nvGraphicFramePr>
        <p:xfrm>
          <a:off x="2493084" y="2665954"/>
          <a:ext cx="7533042" cy="3389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2" name="TextBox 6">
            <a:extLst>
              <a:ext uri="{FF2B5EF4-FFF2-40B4-BE49-F238E27FC236}">
                <a16:creationId xmlns:a16="http://schemas.microsoft.com/office/drawing/2014/main" id="{2E0CD0A3-EFF2-C65A-A65C-077124C17A85}"/>
              </a:ext>
            </a:extLst>
          </p:cNvPr>
          <p:cNvSpPr txBox="1"/>
          <p:nvPr/>
        </p:nvSpPr>
        <p:spPr>
          <a:xfrm>
            <a:off x="599425" y="2007947"/>
            <a:ext cx="10599286" cy="553998"/>
          </a:xfrm>
          <a:prstGeom prst="rect">
            <a:avLst/>
          </a:prstGeom>
        </p:spPr>
        <p:txBody>
          <a:bodyPr wrap="square" lIns="0" tIns="0" rIns="0" bIns="0" rtlCol="0" anchor="t">
            <a:spAutoFit/>
          </a:bodyPr>
          <a:lstStyle/>
          <a:p>
            <a:pPr marL="285750" indent="-285750" algn="just">
              <a:buFont typeface="Arial" panose="020B0604020202020204" pitchFamily="34" charset="0"/>
              <a:buChar char="•"/>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For the proposed project scope, GRC360’s shall conduct audit against </a:t>
            </a:r>
            <a:r>
              <a:rPr lang="en-US" spc="14">
                <a:solidFill>
                  <a:srgbClr val="000000"/>
                </a:solidFill>
                <a:latin typeface="Calibri"/>
                <a:cs typeface="Calibri"/>
              </a:rPr>
              <a:t>all the relevant controls pertaining to SAMA MVC CRFR:</a:t>
            </a:r>
            <a:endParaRPr lang="en-US" sz="1800" b="0" i="0" u="none" strike="noStrike" kern="1200" cap="none" spc="14" normalizeH="0" baseline="0" noProof="0">
              <a:ln>
                <a:noFill/>
              </a:ln>
              <a:solidFill>
                <a:srgbClr val="000000"/>
              </a:solidFill>
              <a:effectLst/>
              <a:uLnTx/>
              <a:uFillTx/>
              <a:latin typeface="Calibri"/>
              <a:cs typeface="Calibri"/>
            </a:endParaRPr>
          </a:p>
        </p:txBody>
      </p:sp>
    </p:spTree>
    <p:extLst>
      <p:ext uri="{BB962C8B-B14F-4D97-AF65-F5344CB8AC3E}">
        <p14:creationId xmlns:p14="http://schemas.microsoft.com/office/powerpoint/2010/main" val="386523199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585963-DC35-E60E-C8C2-AD01B2E3BD6C}"/>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8E205996-0A2E-85A0-FB22-279492B12F4A}"/>
              </a:ext>
            </a:extLst>
          </p:cNvPr>
          <p:cNvSpPr>
            <a:spLocks noGrp="1"/>
          </p:cNvSpPr>
          <p:nvPr>
            <p:ph type="body" sz="quarter" idx="14"/>
          </p:nvPr>
        </p:nvSpPr>
        <p:spPr/>
        <p:txBody>
          <a:bodyPr>
            <a:normAutofit/>
          </a:bodyPr>
          <a:lstStyle/>
          <a:p>
            <a:r>
              <a:rPr lang="en-US" sz="3600">
                <a:ea typeface="Calibri"/>
                <a:cs typeface="Calibri"/>
              </a:rPr>
              <a:t>SAMA CSF AUDIT METHODOLOGY</a:t>
            </a:r>
          </a:p>
        </p:txBody>
      </p:sp>
      <p:sp>
        <p:nvSpPr>
          <p:cNvPr id="16" name="Freeform 12">
            <a:extLst>
              <a:ext uri="{FF2B5EF4-FFF2-40B4-BE49-F238E27FC236}">
                <a16:creationId xmlns:a16="http://schemas.microsoft.com/office/drawing/2014/main" id="{CC1366DD-7026-ACDC-E3A4-7AB5596C464C}"/>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 name="TextBox 2">
            <a:extLst>
              <a:ext uri="{FF2B5EF4-FFF2-40B4-BE49-F238E27FC236}">
                <a16:creationId xmlns:a16="http://schemas.microsoft.com/office/drawing/2014/main" id="{AABF1667-1C24-3BED-FDD2-D7A4024D2914}"/>
              </a:ext>
            </a:extLst>
          </p:cNvPr>
          <p:cNvSpPr txBox="1"/>
          <p:nvPr/>
        </p:nvSpPr>
        <p:spPr>
          <a:xfrm>
            <a:off x="282102" y="1945532"/>
            <a:ext cx="11605098" cy="4524315"/>
          </a:xfrm>
          <a:prstGeom prst="rect">
            <a:avLst/>
          </a:prstGeom>
          <a:noFill/>
          <a:ln>
            <a:noFill/>
          </a:ln>
        </p:spPr>
        <p:txBody>
          <a:bodyPr wrap="square" lIns="91440" tIns="45720" rIns="91440" bIns="45720" rtlCol="0" anchor="t">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All the aspects of our methodology are well synchronized to reach project’s objectives. We ensure a holistic view while tackling the daunting mission of cybersecurity in the unique financial environment of KS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14"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Consultant has an extensive experience of providing support for achieving SAMA CSF Maturity Level 3.</a:t>
            </a:r>
            <a:endParaRPr lang="en-US" sz="1800" b="0" i="0" u="none" strike="noStrike" kern="1200" cap="none" spc="14" normalizeH="0" baseline="0" noProof="0">
              <a:ln>
                <a:noFill/>
              </a:ln>
              <a:solidFill>
                <a:srgbClr val="000000"/>
              </a:solidFill>
              <a:effectLst/>
              <a:uLnTx/>
              <a:uFillTx/>
              <a:latin typeface="Calibri"/>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pc="14">
              <a:solidFill>
                <a:srgbClr val="000000"/>
              </a:solidFill>
              <a:highlight>
                <a:srgbClr val="FFFF00"/>
              </a:highlight>
              <a:latin typeface="Calibri"/>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pc="14">
                <a:solidFill>
                  <a:srgbClr val="000000"/>
                </a:solidFill>
                <a:latin typeface="Calibri"/>
                <a:ea typeface="Calibri"/>
                <a:cs typeface="Calibri"/>
              </a:rPr>
              <a:t>CSF standard has in total 250 controls – thus at the minimum 500 evidences shall be requested however, there can be more evidences needed and upon request client shall furnish thos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14"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Following cyber security areas and their respective controls shall be covered during the CSF Audit :</a:t>
            </a:r>
            <a:endParaRPr lang="en-US" sz="1800" b="0" i="0" u="none" strike="noStrike" kern="1200" cap="none" spc="14" normalizeH="0" baseline="0" noProof="0">
              <a:ln>
                <a:noFill/>
              </a:ln>
              <a:solidFill>
                <a:srgbClr val="000000"/>
              </a:solidFill>
              <a:effectLst/>
              <a:uLnTx/>
              <a:uFillTx/>
              <a:latin typeface="Calibri"/>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Leadership and Governance</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Risk Management &amp; Compliance</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Operations and Technology</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Third Party Cyber Security</a:t>
            </a:r>
            <a:endParaRPr lang="en-US" sz="1800" b="0" i="0" u="none" strike="noStrike" kern="1200" cap="none" spc="0" normalizeH="0" baseline="0" noProof="0">
              <a:ln>
                <a:noFill/>
              </a:ln>
              <a:solidFill>
                <a:prstClr val="black"/>
              </a:solidFill>
              <a:effectLst/>
              <a:uLnTx/>
              <a:uFillTx/>
              <a:latin typeface="Calibri"/>
              <a:ea typeface="Calibri"/>
              <a:cs typeface="Calibri"/>
            </a:endParaRPr>
          </a:p>
          <a:p>
            <a:pPr marR="0" lvl="1" algn="l" defTabSz="914400" rtl="0" eaLnBrk="1" fontAlgn="auto" latinLnBrk="0" hangingPunct="1">
              <a:lnSpc>
                <a:spcPct val="100000"/>
              </a:lnSpc>
              <a:spcBef>
                <a:spcPts val="0"/>
              </a:spcBef>
              <a:spcAft>
                <a:spcPts val="0"/>
              </a:spcAft>
              <a:buClrTx/>
              <a:buSzTx/>
              <a:tabLst/>
              <a:defRPr/>
            </a:pP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endParaRPr lang="en-US"/>
          </a:p>
        </p:txBody>
      </p:sp>
    </p:spTree>
    <p:extLst>
      <p:ext uri="{BB962C8B-B14F-4D97-AF65-F5344CB8AC3E}">
        <p14:creationId xmlns:p14="http://schemas.microsoft.com/office/powerpoint/2010/main" val="2554736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indoor&#10;&#10;Description automatically generated">
            <a:extLst>
              <a:ext uri="{FF2B5EF4-FFF2-40B4-BE49-F238E27FC236}">
                <a16:creationId xmlns:a16="http://schemas.microsoft.com/office/drawing/2014/main" id="{25543018-177A-7A55-22A3-61910D699175}"/>
              </a:ext>
            </a:extLst>
          </p:cNvPr>
          <p:cNvPicPr>
            <a:picLocks noGrp="1" noChangeAspect="1"/>
          </p:cNvPicPr>
          <p:nvPr>
            <p:ph type="pic" sz="quarter" idx="10"/>
          </p:nvPr>
        </p:nvPicPr>
        <p:blipFill>
          <a:blip r:embed="rId2" cstate="print">
            <a:alphaModFix/>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a:xfrm>
            <a:off x="7991339" y="-112296"/>
            <a:ext cx="3332162" cy="6187993"/>
          </a:xfrm>
        </p:spPr>
      </p:pic>
      <p:pic>
        <p:nvPicPr>
          <p:cNvPr id="8" name="Picture Placeholder 7" descr="A picture containing indoor&#10;&#10;Description automatically generated">
            <a:extLst>
              <a:ext uri="{FF2B5EF4-FFF2-40B4-BE49-F238E27FC236}">
                <a16:creationId xmlns:a16="http://schemas.microsoft.com/office/drawing/2014/main" id="{4B36E436-955A-2CB5-025A-43F6B27660D8}"/>
              </a:ext>
            </a:extLst>
          </p:cNvPr>
          <p:cNvPicPr>
            <a:picLocks noGrp="1" noChangeAspect="1"/>
          </p:cNvPicPr>
          <p:nvPr>
            <p:ph type="pic" sz="quarter" idx="11"/>
          </p:nvPr>
        </p:nvPicPr>
        <p:blipFill>
          <a:blip r:embed="rId3" cstate="print">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rcRect t="22597" b="22597"/>
          <a:stretch>
            <a:fillRect/>
          </a:stretch>
        </p:blipFill>
        <p:spPr>
          <a:xfrm>
            <a:off x="7716766" y="923635"/>
            <a:ext cx="3881308" cy="3881308"/>
          </a:xfrm>
        </p:spPr>
      </p:pic>
      <p:sp>
        <p:nvSpPr>
          <p:cNvPr id="4" name="Text Placeholder 3">
            <a:extLst>
              <a:ext uri="{FF2B5EF4-FFF2-40B4-BE49-F238E27FC236}">
                <a16:creationId xmlns:a16="http://schemas.microsoft.com/office/drawing/2014/main" id="{6C70F218-464E-A335-9607-BCF03C503308}"/>
              </a:ext>
            </a:extLst>
          </p:cNvPr>
          <p:cNvSpPr>
            <a:spLocks noGrp="1"/>
          </p:cNvSpPr>
          <p:nvPr>
            <p:ph type="body" sz="quarter" idx="12"/>
          </p:nvPr>
        </p:nvSpPr>
        <p:spPr/>
        <p:txBody>
          <a:bodyPr/>
          <a:lstStyle/>
          <a:p>
            <a:r>
              <a:rPr lang="en-US"/>
              <a:t>COMPANY PROFILE</a:t>
            </a:r>
            <a:endParaRPr lang="en-GB"/>
          </a:p>
        </p:txBody>
      </p:sp>
    </p:spTree>
    <p:extLst>
      <p:ext uri="{BB962C8B-B14F-4D97-AF65-F5344CB8AC3E}">
        <p14:creationId xmlns:p14="http://schemas.microsoft.com/office/powerpoint/2010/main" val="28989572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F15E76-0BC4-0E25-E690-98E448D608C5}"/>
              </a:ext>
            </a:extLst>
          </p:cNvPr>
          <p:cNvSpPr>
            <a:spLocks noGrp="1"/>
          </p:cNvSpPr>
          <p:nvPr>
            <p:ph type="body" sz="quarter" idx="14"/>
          </p:nvPr>
        </p:nvSpPr>
        <p:spPr>
          <a:xfrm>
            <a:off x="-308428" y="1927"/>
            <a:ext cx="12192000" cy="1419727"/>
          </a:xfrm>
        </p:spPr>
        <p:txBody>
          <a:bodyPr>
            <a:normAutofit/>
          </a:bodyPr>
          <a:lstStyle/>
          <a:p>
            <a:r>
              <a:rPr lang="en-US" sz="3600">
                <a:ea typeface="Calibri"/>
                <a:cs typeface="Calibri"/>
              </a:rPr>
              <a:t>CSF WALKTHROUGHS</a:t>
            </a:r>
          </a:p>
        </p:txBody>
      </p:sp>
      <p:sp>
        <p:nvSpPr>
          <p:cNvPr id="16" name="Freeform 12">
            <a:extLst>
              <a:ext uri="{FF2B5EF4-FFF2-40B4-BE49-F238E27FC236}">
                <a16:creationId xmlns:a16="http://schemas.microsoft.com/office/drawing/2014/main" id="{5790CD83-E0E2-40B0-ED5B-5E1CAEE9768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3" name="Table 2">
            <a:extLst>
              <a:ext uri="{FF2B5EF4-FFF2-40B4-BE49-F238E27FC236}">
                <a16:creationId xmlns:a16="http://schemas.microsoft.com/office/drawing/2014/main" id="{EA4DDA59-4255-F98A-DD61-EAE3D2D6619A}"/>
              </a:ext>
            </a:extLst>
          </p:cNvPr>
          <p:cNvGraphicFramePr>
            <a:graphicFrameLocks noGrp="1"/>
          </p:cNvGraphicFramePr>
          <p:nvPr/>
        </p:nvGraphicFramePr>
        <p:xfrm>
          <a:off x="446567" y="1612800"/>
          <a:ext cx="11302411" cy="4602480"/>
        </p:xfrm>
        <a:graphic>
          <a:graphicData uri="http://schemas.openxmlformats.org/drawingml/2006/table">
            <a:tbl>
              <a:tblPr firstRow="1" bandRow="1">
                <a:tableStyleId>{00A15C55-8517-42AA-B614-E9B94910E393}</a:tableStyleId>
              </a:tblPr>
              <a:tblGrid>
                <a:gridCol w="3767470">
                  <a:extLst>
                    <a:ext uri="{9D8B030D-6E8A-4147-A177-3AD203B41FA5}">
                      <a16:colId xmlns:a16="http://schemas.microsoft.com/office/drawing/2014/main" val="2418888066"/>
                    </a:ext>
                  </a:extLst>
                </a:gridCol>
                <a:gridCol w="4465401">
                  <a:extLst>
                    <a:ext uri="{9D8B030D-6E8A-4147-A177-3AD203B41FA5}">
                      <a16:colId xmlns:a16="http://schemas.microsoft.com/office/drawing/2014/main" val="3746624467"/>
                    </a:ext>
                  </a:extLst>
                </a:gridCol>
                <a:gridCol w="3069540">
                  <a:extLst>
                    <a:ext uri="{9D8B030D-6E8A-4147-A177-3AD203B41FA5}">
                      <a16:colId xmlns:a16="http://schemas.microsoft.com/office/drawing/2014/main" val="3003262977"/>
                    </a:ext>
                  </a:extLst>
                </a:gridCol>
              </a:tblGrid>
              <a:tr h="326333">
                <a:tc>
                  <a:txBody>
                    <a:bodyPr/>
                    <a:lstStyle/>
                    <a:p>
                      <a:pPr algn="ctr"/>
                      <a:r>
                        <a:rPr lang="en-US" sz="1600"/>
                        <a:t>Session</a:t>
                      </a:r>
                    </a:p>
                  </a:txBody>
                  <a:tcPr/>
                </a:tc>
                <a:tc>
                  <a:txBody>
                    <a:bodyPr/>
                    <a:lstStyle/>
                    <a:p>
                      <a:pPr algn="ctr"/>
                      <a:r>
                        <a:rPr lang="en-US" sz="1600"/>
                        <a:t>Attendees</a:t>
                      </a:r>
                    </a:p>
                  </a:txBody>
                  <a:tcPr/>
                </a:tc>
                <a:tc>
                  <a:txBody>
                    <a:bodyPr/>
                    <a:lstStyle/>
                    <a:p>
                      <a:pPr algn="ctr"/>
                      <a:r>
                        <a:rPr lang="en-US" sz="1600"/>
                        <a:t>Scope</a:t>
                      </a:r>
                    </a:p>
                  </a:txBody>
                  <a:tcPr/>
                </a:tc>
                <a:extLst>
                  <a:ext uri="{0D108BD9-81ED-4DB2-BD59-A6C34878D82A}">
                    <a16:rowId xmlns:a16="http://schemas.microsoft.com/office/drawing/2014/main" val="812719274"/>
                  </a:ext>
                </a:extLst>
              </a:tr>
              <a:tr h="978998">
                <a:tc>
                  <a:txBody>
                    <a:bodyPr/>
                    <a:lstStyle/>
                    <a:p>
                      <a:pPr marL="0" algn="ctr" defTabSz="914400" rtl="0" eaLnBrk="1" latinLnBrk="0" hangingPunct="1"/>
                      <a:r>
                        <a:rPr lang="en-US" sz="1400" b="1" kern="1200">
                          <a:solidFill>
                            <a:schemeClr val="dk1"/>
                          </a:solidFill>
                        </a:rPr>
                        <a:t>Access Control &amp; Infrastructure</a:t>
                      </a:r>
                      <a:endParaRPr lang="en-US" sz="1400" b="1" kern="1200">
                        <a:solidFill>
                          <a:schemeClr val="dk1"/>
                        </a:solidFill>
                        <a:latin typeface="+mn-lt"/>
                        <a:ea typeface="+mn-ea"/>
                        <a:cs typeface="+mn-cs"/>
                      </a:endParaRPr>
                    </a:p>
                  </a:txBody>
                  <a:tcPr anchor="ctr"/>
                </a:tc>
                <a:tc>
                  <a:txBody>
                    <a:bodyPr/>
                    <a:lstStyle/>
                    <a:p>
                      <a:pPr marL="285750" indent="-285750" algn="l">
                        <a:buFont typeface="Arial" panose="020B0604020202020204" pitchFamily="34" charset="0"/>
                        <a:buChar char="•"/>
                      </a:pPr>
                      <a:r>
                        <a:rPr lang="en-US" sz="1000" b="0" kern="1200">
                          <a:solidFill>
                            <a:schemeClr val="dk1"/>
                          </a:solidFill>
                          <a:effectLst/>
                        </a:rPr>
                        <a:t>System Administrators (Windows/Linux)</a:t>
                      </a:r>
                    </a:p>
                    <a:p>
                      <a:pPr marL="285750" indent="-285750" algn="l">
                        <a:buFont typeface="Arial" panose="020B0604020202020204" pitchFamily="34" charset="0"/>
                        <a:buChar char="•"/>
                      </a:pPr>
                      <a:r>
                        <a:rPr lang="en-US" sz="1000" b="0" kern="1200">
                          <a:solidFill>
                            <a:schemeClr val="dk1"/>
                          </a:solidFill>
                          <a:effectLst/>
                        </a:rPr>
                        <a:t>Cloud Platform Administrators (e.g., OCI, AWS, Azure)</a:t>
                      </a:r>
                    </a:p>
                    <a:p>
                      <a:pPr marL="285750" indent="-285750" algn="l">
                        <a:buFont typeface="Arial" panose="020B0604020202020204" pitchFamily="34" charset="0"/>
                        <a:buChar char="•"/>
                      </a:pPr>
                      <a:r>
                        <a:rPr lang="en-US" sz="1000" b="0" kern="1200">
                          <a:solidFill>
                            <a:schemeClr val="dk1"/>
                          </a:solidFill>
                          <a:effectLst/>
                        </a:rPr>
                        <a:t>Container/Kubernetes Administrators</a:t>
                      </a:r>
                    </a:p>
                    <a:p>
                      <a:pPr marL="285750" indent="-285750" algn="l">
                        <a:buFont typeface="Arial" panose="020B0604020202020204" pitchFamily="34" charset="0"/>
                        <a:buChar char="•"/>
                      </a:pPr>
                      <a:r>
                        <a:rPr lang="en-US" sz="1000" b="0" kern="1200">
                          <a:solidFill>
                            <a:schemeClr val="dk1"/>
                          </a:solidFill>
                          <a:effectLst/>
                        </a:rPr>
                        <a:t>Network Administrators</a:t>
                      </a:r>
                    </a:p>
                    <a:p>
                      <a:pPr marL="285750" indent="-285750" algn="l">
                        <a:buFont typeface="Arial" panose="020B0604020202020204" pitchFamily="34" charset="0"/>
                        <a:buChar char="•"/>
                      </a:pPr>
                      <a:r>
                        <a:rPr lang="en-US" sz="1000" b="0" kern="1200">
                          <a:solidFill>
                            <a:schemeClr val="dk1"/>
                          </a:solidFill>
                          <a:effectLst/>
                        </a:rPr>
                        <a:t>Application Owners (for critical apps)</a:t>
                      </a:r>
                    </a:p>
                    <a:p>
                      <a:pPr algn="l"/>
                      <a:endParaRPr lang="en-US" sz="1000" b="0"/>
                    </a:p>
                  </a:txBody>
                  <a:tcPr anchor="ctr"/>
                </a:tc>
                <a:tc>
                  <a:txBody>
                    <a:bodyPr/>
                    <a:lstStyle/>
                    <a:p>
                      <a:pPr marL="285750" indent="-285750" algn="l">
                        <a:buFont typeface="Arial" panose="020B0604020202020204" pitchFamily="34" charset="0"/>
                        <a:buChar char="•"/>
                      </a:pPr>
                      <a:r>
                        <a:rPr lang="en-US" sz="1000" b="0"/>
                        <a:t>Inventory &amp; Architecture</a:t>
                      </a:r>
                    </a:p>
                    <a:p>
                      <a:pPr marL="285750" indent="-285750" algn="l">
                        <a:buFont typeface="Arial" panose="020B0604020202020204" pitchFamily="34" charset="0"/>
                        <a:buChar char="•"/>
                      </a:pPr>
                      <a:r>
                        <a:rPr lang="en-US" sz="1000" b="0"/>
                        <a:t>User Provisioning</a:t>
                      </a:r>
                    </a:p>
                    <a:p>
                      <a:pPr marL="285750" indent="-285750" algn="l">
                        <a:buFont typeface="Arial" panose="020B0604020202020204" pitchFamily="34" charset="0"/>
                        <a:buChar char="•"/>
                      </a:pPr>
                      <a:r>
                        <a:rPr lang="en-US" sz="1000" b="0"/>
                        <a:t>IAM Settings</a:t>
                      </a:r>
                    </a:p>
                    <a:p>
                      <a:pPr marL="285750" indent="-285750" algn="l">
                        <a:buFont typeface="Arial" panose="020B0604020202020204" pitchFamily="34" charset="0"/>
                        <a:buChar char="•"/>
                      </a:pPr>
                      <a:r>
                        <a:rPr lang="en-US" sz="1000" b="0"/>
                        <a:t>Privilege Management</a:t>
                      </a:r>
                    </a:p>
                    <a:p>
                      <a:pPr marL="285750" indent="-285750" algn="l">
                        <a:buFont typeface="Arial" panose="020B0604020202020204" pitchFamily="34" charset="0"/>
                        <a:buChar char="•"/>
                      </a:pPr>
                      <a:r>
                        <a:rPr lang="en-US" sz="1000" b="0"/>
                        <a:t>Backup and Restoration</a:t>
                      </a:r>
                    </a:p>
                  </a:txBody>
                  <a:tcPr anchor="ctr"/>
                </a:tc>
                <a:extLst>
                  <a:ext uri="{0D108BD9-81ED-4DB2-BD59-A6C34878D82A}">
                    <a16:rowId xmlns:a16="http://schemas.microsoft.com/office/drawing/2014/main" val="3820736534"/>
                  </a:ext>
                </a:extLst>
              </a:tr>
              <a:tr h="830665">
                <a:tc>
                  <a:txBody>
                    <a:bodyPr/>
                    <a:lstStyle/>
                    <a:p>
                      <a:pPr marL="0" algn="ctr" defTabSz="914400" rtl="0" eaLnBrk="1" latinLnBrk="0" hangingPunct="1"/>
                      <a:r>
                        <a:rPr lang="en-US" sz="1400" b="1" kern="1200">
                          <a:solidFill>
                            <a:schemeClr val="dk1"/>
                          </a:solidFill>
                        </a:rPr>
                        <a:t>Change Management</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Change Coordinator / CAB (Change Advisory Board) Representativ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ystem Administrators / DevOps Leads (those who perform chang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Network Administrators</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a:t>Real Change Example</a:t>
                      </a:r>
                      <a:endParaRPr lang="en-US" sz="1000" b="0" kern="1200">
                        <a:solidFill>
                          <a:schemeClr val="dk1"/>
                        </a:solidFill>
                      </a:endParaRPr>
                    </a:p>
                    <a:p>
                      <a:pPr marL="285750" indent="-285750" algn="l" defTabSz="914400" rtl="0" eaLnBrk="1" latinLnBrk="0" hangingPunct="1">
                        <a:buFont typeface="Arial" panose="020B0604020202020204" pitchFamily="34" charset="0"/>
                        <a:buChar char="•"/>
                      </a:pPr>
                      <a:r>
                        <a:rPr lang="en-US" sz="1000" b="0" kern="1200">
                          <a:solidFill>
                            <a:schemeClr val="dk1"/>
                          </a:solidFill>
                        </a:rPr>
                        <a:t>Workflow Demonstration</a:t>
                      </a:r>
                    </a:p>
                    <a:p>
                      <a:pPr marL="285750" indent="-285750" algn="l" defTabSz="914400" rtl="0" eaLnBrk="1" latinLnBrk="0" hangingPunct="1">
                        <a:buFont typeface="Arial" panose="020B0604020202020204" pitchFamily="34" charset="0"/>
                        <a:buChar char="•"/>
                      </a:pPr>
                      <a:r>
                        <a:rPr lang="en-US" sz="1000" b="0" kern="1200">
                          <a:solidFill>
                            <a:schemeClr val="dk1"/>
                          </a:solidFill>
                        </a:rPr>
                        <a:t>Implementation Verification</a:t>
                      </a:r>
                    </a:p>
                    <a:p>
                      <a:pPr marL="285750" indent="-285750" algn="l" defTabSz="914400" rtl="0" eaLnBrk="1" latinLnBrk="0" hangingPunct="1">
                        <a:buFont typeface="Arial" panose="020B0604020202020204" pitchFamily="34" charset="0"/>
                        <a:buChar char="•"/>
                      </a:pPr>
                      <a:r>
                        <a:rPr lang="en-US" sz="1000" b="0" kern="1200">
                          <a:solidFill>
                            <a:schemeClr val="dk1"/>
                          </a:solidFill>
                        </a:rPr>
                        <a:t>Security Considerations</a:t>
                      </a:r>
                    </a:p>
                    <a:p>
                      <a:pPr marL="285750" indent="-285750" algn="l" defTabSz="914400" rtl="0" eaLnBrk="1" latinLnBrk="0" hangingPunct="1">
                        <a:buFont typeface="Arial" panose="020B0604020202020204" pitchFamily="34" charset="0"/>
                        <a:buChar char="•"/>
                      </a:pPr>
                      <a:r>
                        <a:rPr lang="en-US" sz="1000" b="0" kern="1200">
                          <a:solidFill>
                            <a:schemeClr val="dk1"/>
                          </a:solidFill>
                        </a:rPr>
                        <a:t>Incident Reporting</a:t>
                      </a:r>
                      <a:endParaRPr lang="en-US" sz="1000" b="0" kern="1200">
                        <a:solidFill>
                          <a:schemeClr val="dk1"/>
                        </a:solidFill>
                        <a:latin typeface="+mn-lt"/>
                        <a:ea typeface="+mn-ea"/>
                        <a:cs typeface="+mn-cs"/>
                      </a:endParaRPr>
                    </a:p>
                  </a:txBody>
                  <a:tcPr anchor="ctr"/>
                </a:tc>
                <a:extLst>
                  <a:ext uri="{0D108BD9-81ED-4DB2-BD59-A6C34878D82A}">
                    <a16:rowId xmlns:a16="http://schemas.microsoft.com/office/drawing/2014/main" val="3533422943"/>
                  </a:ext>
                </a:extLst>
              </a:tr>
              <a:tr h="682332">
                <a:tc>
                  <a:txBody>
                    <a:bodyPr/>
                    <a:lstStyle/>
                    <a:p>
                      <a:pPr marL="0" algn="ctr" defTabSz="914400" rtl="0" eaLnBrk="1" latinLnBrk="0" hangingPunct="1"/>
                      <a:r>
                        <a:rPr lang="en-US" sz="1400" b="1" kern="1200">
                          <a:solidFill>
                            <a:schemeClr val="dk1"/>
                          </a:solidFill>
                        </a:rPr>
                        <a:t>Secure SDLC</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Development Team Lead / DevOps Engineer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QA or Testing Team Representative (if separat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ecurity/</a:t>
                      </a:r>
                      <a:r>
                        <a:rPr lang="en-US" sz="1000" b="0" kern="1200" err="1">
                          <a:solidFill>
                            <a:schemeClr val="dk1"/>
                          </a:solidFill>
                          <a:effectLst/>
                        </a:rPr>
                        <a:t>DevSecOps</a:t>
                      </a:r>
                      <a:r>
                        <a:rPr lang="en-US" sz="1000" b="0" kern="1200">
                          <a:solidFill>
                            <a:schemeClr val="dk1"/>
                          </a:solidFill>
                          <a:effectLst/>
                        </a:rPr>
                        <a:t> (if applicable)</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de Repositori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ipeline Security Check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de Review Proces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Vulnerability Handling</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3504172536"/>
                  </a:ext>
                </a:extLst>
              </a:tr>
              <a:tr h="830665">
                <a:tc>
                  <a:txBody>
                    <a:bodyPr/>
                    <a:lstStyle/>
                    <a:p>
                      <a:pPr marL="0" algn="ctr" defTabSz="914400" rtl="0" eaLnBrk="1" latinLnBrk="0" hangingPunct="1"/>
                      <a:r>
                        <a:rPr lang="en-US" sz="1400" b="1" kern="1200">
                          <a:solidFill>
                            <a:schemeClr val="dk1"/>
                          </a:solidFill>
                        </a:rPr>
                        <a:t>SIEM and Incidence Response</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SOC Team / Security Operation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IEM Administrators / Analysts</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Real-Time Dashboard</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rrelation Rul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Incident Handling</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Log Reten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Incident Reporting.</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1704024942"/>
                  </a:ext>
                </a:extLst>
              </a:tr>
              <a:tr h="830665">
                <a:tc>
                  <a:txBody>
                    <a:bodyPr/>
                    <a:lstStyle/>
                    <a:p>
                      <a:pPr algn="ctr"/>
                      <a:r>
                        <a:rPr lang="en-US" sz="1400" b="1" kern="1200">
                          <a:solidFill>
                            <a:schemeClr val="dk1"/>
                          </a:solidFill>
                        </a:rPr>
                        <a:t>Vulnerability Assessment and Patching</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Security Engineer / VA Tool Owner (e.g., Nessus, Qualy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atch Management Team / System Administrator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Network Administrators</a:t>
                      </a:r>
                    </a:p>
                    <a:p>
                      <a:pPr algn="l"/>
                      <a:endParaRPr lang="en-US"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Vulnerability Scan Demonstra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High-Severity Finding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atching Consol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Valida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Backup Linkage</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3861623425"/>
                  </a:ext>
                </a:extLst>
              </a:tr>
            </a:tbl>
          </a:graphicData>
        </a:graphic>
      </p:graphicFrame>
    </p:spTree>
    <p:extLst>
      <p:ext uri="{BB962C8B-B14F-4D97-AF65-F5344CB8AC3E}">
        <p14:creationId xmlns:p14="http://schemas.microsoft.com/office/powerpoint/2010/main" val="3838957289"/>
      </p:ext>
    </p:extLst>
  </p:cSld>
  <p:clrMapOvr>
    <a:masterClrMapping/>
  </p:clrMapOvr>
  <p:extLst>
    <p:ext uri="{6950BFC3-D8DA-4A85-94F7-54DA5524770B}">
      <p188:commentRel xmlns:p188="http://schemas.microsoft.com/office/powerpoint/2018/8/main" r:id="rId2"/>
    </p:ext>
  </p:extLs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en on a piece of paper&#10;&#10;Description automatically generated with medium confidence">
            <a:extLst>
              <a:ext uri="{FF2B5EF4-FFF2-40B4-BE49-F238E27FC236}">
                <a16:creationId xmlns:a16="http://schemas.microsoft.com/office/drawing/2014/main" id="{F8B0298E-D1F6-D21F-B860-10078BC64D88}"/>
              </a:ext>
            </a:extLst>
          </p:cNvPr>
          <p:cNvPicPr>
            <a:picLocks noGrp="1" noChangeAspect="1"/>
          </p:cNvPicPr>
          <p:nvPr>
            <p:ph type="pic" sz="quarter" idx="10"/>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p:pic>
      <p:pic>
        <p:nvPicPr>
          <p:cNvPr id="8" name="Picture Placeholder 7" descr="A pen on a piece of paper&#10;&#10;Description automatically generated with medium confidence">
            <a:extLst>
              <a:ext uri="{FF2B5EF4-FFF2-40B4-BE49-F238E27FC236}">
                <a16:creationId xmlns:a16="http://schemas.microsoft.com/office/drawing/2014/main" id="{E834C598-053B-033F-F34B-D21348C7BC01}"/>
              </a:ext>
            </a:extLst>
          </p:cNvPr>
          <p:cNvPicPr>
            <a:picLocks noGrp="1" noChangeAspect="1"/>
          </p:cNvPicPr>
          <p:nvPr>
            <p:ph type="pic" sz="quarter" idx="11"/>
          </p:nvPr>
        </p:nvPicPr>
        <p:blipFill>
          <a:blip r:embed="rId3"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a:xfrm>
            <a:off x="7716701" y="1097296"/>
            <a:ext cx="3881438" cy="3881437"/>
          </a:xfrm>
        </p:spPr>
      </p:pic>
      <p:sp>
        <p:nvSpPr>
          <p:cNvPr id="4" name="Text Placeholder 3">
            <a:extLst>
              <a:ext uri="{FF2B5EF4-FFF2-40B4-BE49-F238E27FC236}">
                <a16:creationId xmlns:a16="http://schemas.microsoft.com/office/drawing/2014/main" id="{9E919B64-DE3F-B4C2-1B8A-EB4432EF3149}"/>
              </a:ext>
            </a:extLst>
          </p:cNvPr>
          <p:cNvSpPr>
            <a:spLocks noGrp="1"/>
          </p:cNvSpPr>
          <p:nvPr>
            <p:ph type="body" sz="quarter" idx="12"/>
          </p:nvPr>
        </p:nvSpPr>
        <p:spPr/>
        <p:txBody>
          <a:bodyPr/>
          <a:lstStyle/>
          <a:p>
            <a:r>
              <a:rPr lang="en-US"/>
              <a:t>PROJECT DELIVERABLES</a:t>
            </a:r>
            <a:endParaRPr lang="en-GB"/>
          </a:p>
        </p:txBody>
      </p:sp>
    </p:spTree>
    <p:extLst>
      <p:ext uri="{BB962C8B-B14F-4D97-AF65-F5344CB8AC3E}">
        <p14:creationId xmlns:p14="http://schemas.microsoft.com/office/powerpoint/2010/main" val="176836428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lstStyle/>
          <a:p>
            <a:r>
              <a:rPr lang="en-US"/>
              <a:t>PROJECT DELIVERABLES</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Table 7">
            <a:extLst>
              <a:ext uri="{FF2B5EF4-FFF2-40B4-BE49-F238E27FC236}">
                <a16:creationId xmlns:a16="http://schemas.microsoft.com/office/drawing/2014/main" id="{E056BF1F-93B3-1A4D-FAE0-570AC02851B2}"/>
              </a:ext>
            </a:extLst>
          </p:cNvPr>
          <p:cNvGraphicFramePr>
            <a:graphicFrameLocks noGrp="1"/>
          </p:cNvGraphicFramePr>
          <p:nvPr>
            <p:extLst>
              <p:ext uri="{D42A27DB-BD31-4B8C-83A1-F6EECF244321}">
                <p14:modId xmlns:p14="http://schemas.microsoft.com/office/powerpoint/2010/main" val="1256297848"/>
              </p:ext>
            </p:extLst>
          </p:nvPr>
        </p:nvGraphicFramePr>
        <p:xfrm>
          <a:off x="338838" y="1740658"/>
          <a:ext cx="11514324" cy="867125"/>
        </p:xfrm>
        <a:graphic>
          <a:graphicData uri="http://schemas.openxmlformats.org/drawingml/2006/table">
            <a:tbl>
              <a:tblPr firstRow="1" bandRow="1"/>
              <a:tblGrid>
                <a:gridCol w="2322547">
                  <a:extLst>
                    <a:ext uri="{9D8B030D-6E8A-4147-A177-3AD203B41FA5}">
                      <a16:colId xmlns:a16="http://schemas.microsoft.com/office/drawing/2014/main" val="20000"/>
                    </a:ext>
                  </a:extLst>
                </a:gridCol>
                <a:gridCol w="4325703">
                  <a:extLst>
                    <a:ext uri="{9D8B030D-6E8A-4147-A177-3AD203B41FA5}">
                      <a16:colId xmlns:a16="http://schemas.microsoft.com/office/drawing/2014/main" val="1408784207"/>
                    </a:ext>
                  </a:extLst>
                </a:gridCol>
                <a:gridCol w="4866074">
                  <a:extLst>
                    <a:ext uri="{9D8B030D-6E8A-4147-A177-3AD203B41FA5}">
                      <a16:colId xmlns:a16="http://schemas.microsoft.com/office/drawing/2014/main" val="625646531"/>
                    </a:ext>
                  </a:extLst>
                </a:gridCol>
              </a:tblGrid>
              <a:tr h="46800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1800">
                          <a:solidFill>
                            <a:srgbClr val="CCB76A"/>
                          </a:solidFill>
                        </a:rPr>
                        <a:t>Projec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a:solidFill>
                            <a:srgbClr val="CCB76A"/>
                          </a:solidFill>
                        </a:rPr>
                        <a:t>Activ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dirty="0">
                          <a:solidFill>
                            <a:srgbClr val="CCB76A"/>
                          </a:solidFill>
                        </a:rPr>
                        <a:t>Deliverabl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10000"/>
                  </a:ext>
                </a:extLst>
              </a:tr>
              <a:tr h="399125">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kern="1200" dirty="0">
                          <a:solidFill>
                            <a:schemeClr val="bg1"/>
                          </a:solidFill>
                          <a:effectLst/>
                          <a:latin typeface="+mn-lt"/>
                          <a:ea typeface="+mn-ea"/>
                          <a:cs typeface="+mn-cs"/>
                        </a:rPr>
                        <a:t>SAMA CSF Audit</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75000"/>
                        <a:lumOff val="25000"/>
                      </a:schemeClr>
                    </a:solidFill>
                  </a:tcPr>
                </a:tc>
                <a:tc>
                  <a:txBody>
                    <a:bodyPr/>
                    <a:lstStyle/>
                    <a:p/>
                    <a:p>
                      <a:pPr>
                        <a:spcBef>
                          <a:spcPts val="0"/>
                        </a:spcBef>
                        <a:spcAft>
                          <a:spcPts val="0"/>
                        </a:spcAft>
                      </a:pPr>
                      <a:r>
                        <a:t>1. Dummy Activity 1</a:t>
                      </a:r>
                    </a:p>
                    <a:p>
                      <a:pPr>
                        <a:spcBef>
                          <a:spcPts val="0"/>
                        </a:spcBef>
                        <a:spcAft>
                          <a:spcPts val="0"/>
                        </a:spcAft>
                      </a:pPr>
                      <a:r>
                        <a:t>2. Dummy Activity 2</a:t>
                      </a:r>
                    </a:p>
                    <a:p>
                      <a:pPr>
                        <a:spcBef>
                          <a:spcPts val="0"/>
                        </a:spcBef>
                        <a:spcAft>
                          <a:spcPts val="0"/>
                        </a:spcAft>
                      </a:pPr>
                      <a:r>
                        <a:t>3. Dummy Activity 3</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
                      <a:pPr>
                        <a:spcBef>
                          <a:spcPts val="0"/>
                        </a:spcBef>
                        <a:spcAft>
                          <a:spcPts val="0"/>
                        </a:spcAft>
                      </a:pPr>
                      <a:r>
                        <a:t>1. Dummy Deliverable 1</a:t>
                      </a:r>
                    </a:p>
                    <a:p>
                      <a:pPr>
                        <a:spcBef>
                          <a:spcPts val="0"/>
                        </a:spcBef>
                        <a:spcAft>
                          <a:spcPts val="0"/>
                        </a:spcAft>
                      </a:pPr>
                      <a:r>
                        <a:t>2. Dummy Deliverable 2</a:t>
                      </a:r>
                    </a:p>
                    <a:p>
                      <a:pPr>
                        <a:spcBef>
                          <a:spcPts val="0"/>
                        </a:spcBef>
                        <a:spcAft>
                          <a:spcPts val="0"/>
                        </a:spcAft>
                      </a:pPr>
                      <a:r>
                        <a:t>3. Dummy Deliverable 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4876859"/>
                  </a:ext>
                </a:extLst>
              </a:tr>
            </a:tbl>
          </a:graphicData>
        </a:graphic>
      </p:graphicFrame>
    </p:spTree>
    <p:extLst>
      <p:ext uri="{BB962C8B-B14F-4D97-AF65-F5344CB8AC3E}">
        <p14:creationId xmlns:p14="http://schemas.microsoft.com/office/powerpoint/2010/main" val="318519384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a:xfrm>
            <a:off x="344631" y="5430983"/>
            <a:ext cx="5418859" cy="748144"/>
          </a:xfrm>
        </p:spPr>
        <p:txBody>
          <a:bodyPr>
            <a:normAutofit/>
          </a:bodyPr>
          <a:lstStyle/>
          <a:p>
            <a:r>
              <a:rPr lang="en-US"/>
              <a:t>PROJECT TIMELINE</a:t>
            </a:r>
            <a:endParaRPr lang="en-GB"/>
          </a:p>
        </p:txBody>
      </p:sp>
      <p:pic>
        <p:nvPicPr>
          <p:cNvPr id="12" name="Picture Placeholder 11" descr="Diagram&#10;&#10;Description automatically generated with low confidence">
            <a:extLst>
              <a:ext uri="{FF2B5EF4-FFF2-40B4-BE49-F238E27FC236}">
                <a16:creationId xmlns:a16="http://schemas.microsoft.com/office/drawing/2014/main" id="{FA3ABADE-48B0-1839-47D4-426F75DB1FFF}"/>
              </a:ext>
            </a:extLst>
          </p:cNvPr>
          <p:cNvPicPr>
            <a:picLocks noGrp="1" noChangeAspect="1"/>
          </p:cNvPicPr>
          <p:nvPr>
            <p:ph type="pic" sz="quarter" idx="10"/>
          </p:nvPr>
        </p:nvPicPr>
        <p:blipFill>
          <a:blip r:embed="rId2">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p:pic>
      <p:pic>
        <p:nvPicPr>
          <p:cNvPr id="7" name="Picture Placeholder 6" descr="Diagram&#10;&#10;Description automatically generated with low confidence">
            <a:extLst>
              <a:ext uri="{FF2B5EF4-FFF2-40B4-BE49-F238E27FC236}">
                <a16:creationId xmlns:a16="http://schemas.microsoft.com/office/drawing/2014/main" id="{B37E4E00-648F-AB8A-38F4-3AC99F4A41AA}"/>
              </a:ext>
            </a:extLst>
          </p:cNvPr>
          <p:cNvPicPr>
            <a:picLocks noGrp="1" noChangeAspect="1"/>
          </p:cNvPicPr>
          <p:nvPr>
            <p:ph type="pic" sz="quarter" idx="11"/>
          </p:nvPr>
        </p:nvPicPr>
        <p:blipFill rotWithShape="1">
          <a:blip r:embed="rId3">
            <a:extLst>
              <a:ext uri="{28A0092B-C50C-407E-A947-70E740481C1C}">
                <a14:useLocalDpi xmlns:a14="http://schemas.microsoft.com/office/drawing/2010/main" val="0"/>
              </a:ext>
            </a:extLst>
          </a:blip>
          <a:srcRect/>
          <a:stretch/>
        </p:blipFill>
        <p:spPr>
          <a:xfrm>
            <a:off x="7716766" y="1097361"/>
            <a:ext cx="3881308" cy="3881308"/>
          </a:xfrm>
        </p:spPr>
      </p:pic>
    </p:spTree>
    <p:extLst>
      <p:ext uri="{BB962C8B-B14F-4D97-AF65-F5344CB8AC3E}">
        <p14:creationId xmlns:p14="http://schemas.microsoft.com/office/powerpoint/2010/main" val="308175132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Table 17">
            <a:extLst>
              <a:ext uri="{FF2B5EF4-FFF2-40B4-BE49-F238E27FC236}">
                <a16:creationId xmlns:a16="http://schemas.microsoft.com/office/drawing/2014/main" id="{807A49EC-B223-7062-7CDD-6BADC861CB0C}"/>
              </a:ext>
            </a:extLst>
          </p:cNvPr>
          <p:cNvGraphicFramePr>
            <a:graphicFrameLocks noGrp="1"/>
          </p:cNvGraphicFramePr>
          <p:nvPr/>
        </p:nvGraphicFramePr>
        <p:xfrm>
          <a:off x="433090" y="2051986"/>
          <a:ext cx="11296316" cy="785625"/>
        </p:xfrm>
        <a:graphic>
          <a:graphicData uri="http://schemas.openxmlformats.org/drawingml/2006/table">
            <a:tbl>
              <a:tblPr firstRow="1" bandRow="1">
                <a:tableStyleId>{073A0DAA-6AF3-43AB-8588-CEC1D06C72B9}</a:tableStyleId>
              </a:tblPr>
              <a:tblGrid>
                <a:gridCol w="289649">
                  <a:extLst>
                    <a:ext uri="{9D8B030D-6E8A-4147-A177-3AD203B41FA5}">
                      <a16:colId xmlns:a16="http://schemas.microsoft.com/office/drawing/2014/main" val="1290241882"/>
                    </a:ext>
                  </a:extLst>
                </a:gridCol>
                <a:gridCol w="289649">
                  <a:extLst>
                    <a:ext uri="{9D8B030D-6E8A-4147-A177-3AD203B41FA5}">
                      <a16:colId xmlns:a16="http://schemas.microsoft.com/office/drawing/2014/main" val="283493698"/>
                    </a:ext>
                  </a:extLst>
                </a:gridCol>
                <a:gridCol w="289650">
                  <a:extLst>
                    <a:ext uri="{9D8B030D-6E8A-4147-A177-3AD203B41FA5}">
                      <a16:colId xmlns:a16="http://schemas.microsoft.com/office/drawing/2014/main" val="1668329213"/>
                    </a:ext>
                  </a:extLst>
                </a:gridCol>
                <a:gridCol w="289649">
                  <a:extLst>
                    <a:ext uri="{9D8B030D-6E8A-4147-A177-3AD203B41FA5}">
                      <a16:colId xmlns:a16="http://schemas.microsoft.com/office/drawing/2014/main" val="2224798649"/>
                    </a:ext>
                  </a:extLst>
                </a:gridCol>
                <a:gridCol w="289649">
                  <a:extLst>
                    <a:ext uri="{9D8B030D-6E8A-4147-A177-3AD203B41FA5}">
                      <a16:colId xmlns:a16="http://schemas.microsoft.com/office/drawing/2014/main" val="1802148920"/>
                    </a:ext>
                  </a:extLst>
                </a:gridCol>
                <a:gridCol w="289649">
                  <a:extLst>
                    <a:ext uri="{9D8B030D-6E8A-4147-A177-3AD203B41FA5}">
                      <a16:colId xmlns:a16="http://schemas.microsoft.com/office/drawing/2014/main" val="2364839195"/>
                    </a:ext>
                  </a:extLst>
                </a:gridCol>
                <a:gridCol w="289649">
                  <a:extLst>
                    <a:ext uri="{9D8B030D-6E8A-4147-A177-3AD203B41FA5}">
                      <a16:colId xmlns:a16="http://schemas.microsoft.com/office/drawing/2014/main" val="489962519"/>
                    </a:ext>
                  </a:extLst>
                </a:gridCol>
                <a:gridCol w="289650">
                  <a:extLst>
                    <a:ext uri="{9D8B030D-6E8A-4147-A177-3AD203B41FA5}">
                      <a16:colId xmlns:a16="http://schemas.microsoft.com/office/drawing/2014/main" val="952683092"/>
                    </a:ext>
                  </a:extLst>
                </a:gridCol>
                <a:gridCol w="289649">
                  <a:extLst>
                    <a:ext uri="{9D8B030D-6E8A-4147-A177-3AD203B41FA5}">
                      <a16:colId xmlns:a16="http://schemas.microsoft.com/office/drawing/2014/main" val="1423511475"/>
                    </a:ext>
                  </a:extLst>
                </a:gridCol>
                <a:gridCol w="289649">
                  <a:extLst>
                    <a:ext uri="{9D8B030D-6E8A-4147-A177-3AD203B41FA5}">
                      <a16:colId xmlns:a16="http://schemas.microsoft.com/office/drawing/2014/main" val="2008152649"/>
                    </a:ext>
                  </a:extLst>
                </a:gridCol>
                <a:gridCol w="289649">
                  <a:extLst>
                    <a:ext uri="{9D8B030D-6E8A-4147-A177-3AD203B41FA5}">
                      <a16:colId xmlns:a16="http://schemas.microsoft.com/office/drawing/2014/main" val="4261444740"/>
                    </a:ext>
                  </a:extLst>
                </a:gridCol>
                <a:gridCol w="289649">
                  <a:extLst>
                    <a:ext uri="{9D8B030D-6E8A-4147-A177-3AD203B41FA5}">
                      <a16:colId xmlns:a16="http://schemas.microsoft.com/office/drawing/2014/main" val="172221575"/>
                    </a:ext>
                  </a:extLst>
                </a:gridCol>
                <a:gridCol w="289650">
                  <a:extLst>
                    <a:ext uri="{9D8B030D-6E8A-4147-A177-3AD203B41FA5}">
                      <a16:colId xmlns:a16="http://schemas.microsoft.com/office/drawing/2014/main" val="1619546975"/>
                    </a:ext>
                  </a:extLst>
                </a:gridCol>
                <a:gridCol w="289649">
                  <a:extLst>
                    <a:ext uri="{9D8B030D-6E8A-4147-A177-3AD203B41FA5}">
                      <a16:colId xmlns:a16="http://schemas.microsoft.com/office/drawing/2014/main" val="2906561931"/>
                    </a:ext>
                  </a:extLst>
                </a:gridCol>
                <a:gridCol w="289649">
                  <a:extLst>
                    <a:ext uri="{9D8B030D-6E8A-4147-A177-3AD203B41FA5}">
                      <a16:colId xmlns:a16="http://schemas.microsoft.com/office/drawing/2014/main" val="654522535"/>
                    </a:ext>
                  </a:extLst>
                </a:gridCol>
                <a:gridCol w="289649">
                  <a:extLst>
                    <a:ext uri="{9D8B030D-6E8A-4147-A177-3AD203B41FA5}">
                      <a16:colId xmlns:a16="http://schemas.microsoft.com/office/drawing/2014/main" val="4228781055"/>
                    </a:ext>
                  </a:extLst>
                </a:gridCol>
                <a:gridCol w="289649">
                  <a:extLst>
                    <a:ext uri="{9D8B030D-6E8A-4147-A177-3AD203B41FA5}">
                      <a16:colId xmlns:a16="http://schemas.microsoft.com/office/drawing/2014/main" val="2473175279"/>
                    </a:ext>
                  </a:extLst>
                </a:gridCol>
                <a:gridCol w="289650">
                  <a:extLst>
                    <a:ext uri="{9D8B030D-6E8A-4147-A177-3AD203B41FA5}">
                      <a16:colId xmlns:a16="http://schemas.microsoft.com/office/drawing/2014/main" val="985277982"/>
                    </a:ext>
                  </a:extLst>
                </a:gridCol>
                <a:gridCol w="289649">
                  <a:extLst>
                    <a:ext uri="{9D8B030D-6E8A-4147-A177-3AD203B41FA5}">
                      <a16:colId xmlns:a16="http://schemas.microsoft.com/office/drawing/2014/main" val="1652519001"/>
                    </a:ext>
                  </a:extLst>
                </a:gridCol>
                <a:gridCol w="289649">
                  <a:extLst>
                    <a:ext uri="{9D8B030D-6E8A-4147-A177-3AD203B41FA5}">
                      <a16:colId xmlns:a16="http://schemas.microsoft.com/office/drawing/2014/main" val="1852940871"/>
                    </a:ext>
                  </a:extLst>
                </a:gridCol>
                <a:gridCol w="289649">
                  <a:extLst>
                    <a:ext uri="{9D8B030D-6E8A-4147-A177-3AD203B41FA5}">
                      <a16:colId xmlns:a16="http://schemas.microsoft.com/office/drawing/2014/main" val="592676385"/>
                    </a:ext>
                  </a:extLst>
                </a:gridCol>
                <a:gridCol w="289649">
                  <a:extLst>
                    <a:ext uri="{9D8B030D-6E8A-4147-A177-3AD203B41FA5}">
                      <a16:colId xmlns:a16="http://schemas.microsoft.com/office/drawing/2014/main" val="1731583999"/>
                    </a:ext>
                  </a:extLst>
                </a:gridCol>
                <a:gridCol w="289650">
                  <a:extLst>
                    <a:ext uri="{9D8B030D-6E8A-4147-A177-3AD203B41FA5}">
                      <a16:colId xmlns:a16="http://schemas.microsoft.com/office/drawing/2014/main" val="1958632263"/>
                    </a:ext>
                  </a:extLst>
                </a:gridCol>
                <a:gridCol w="289649">
                  <a:extLst>
                    <a:ext uri="{9D8B030D-6E8A-4147-A177-3AD203B41FA5}">
                      <a16:colId xmlns:a16="http://schemas.microsoft.com/office/drawing/2014/main" val="930379874"/>
                    </a:ext>
                  </a:extLst>
                </a:gridCol>
                <a:gridCol w="289649">
                  <a:extLst>
                    <a:ext uri="{9D8B030D-6E8A-4147-A177-3AD203B41FA5}">
                      <a16:colId xmlns:a16="http://schemas.microsoft.com/office/drawing/2014/main" val="3846433749"/>
                    </a:ext>
                  </a:extLst>
                </a:gridCol>
                <a:gridCol w="289649">
                  <a:extLst>
                    <a:ext uri="{9D8B030D-6E8A-4147-A177-3AD203B41FA5}">
                      <a16:colId xmlns:a16="http://schemas.microsoft.com/office/drawing/2014/main" val="2810539656"/>
                    </a:ext>
                  </a:extLst>
                </a:gridCol>
                <a:gridCol w="289649">
                  <a:extLst>
                    <a:ext uri="{9D8B030D-6E8A-4147-A177-3AD203B41FA5}">
                      <a16:colId xmlns:a16="http://schemas.microsoft.com/office/drawing/2014/main" val="486356529"/>
                    </a:ext>
                  </a:extLst>
                </a:gridCol>
                <a:gridCol w="289649">
                  <a:extLst>
                    <a:ext uri="{9D8B030D-6E8A-4147-A177-3AD203B41FA5}">
                      <a16:colId xmlns:a16="http://schemas.microsoft.com/office/drawing/2014/main" val="3719800581"/>
                    </a:ext>
                  </a:extLst>
                </a:gridCol>
                <a:gridCol w="289649">
                  <a:extLst>
                    <a:ext uri="{9D8B030D-6E8A-4147-A177-3AD203B41FA5}">
                      <a16:colId xmlns:a16="http://schemas.microsoft.com/office/drawing/2014/main" val="4142958828"/>
                    </a:ext>
                  </a:extLst>
                </a:gridCol>
                <a:gridCol w="289649">
                  <a:extLst>
                    <a:ext uri="{9D8B030D-6E8A-4147-A177-3AD203B41FA5}">
                      <a16:colId xmlns:a16="http://schemas.microsoft.com/office/drawing/2014/main" val="2182439515"/>
                    </a:ext>
                  </a:extLst>
                </a:gridCol>
                <a:gridCol w="289649">
                  <a:extLst>
                    <a:ext uri="{9D8B030D-6E8A-4147-A177-3AD203B41FA5}">
                      <a16:colId xmlns:a16="http://schemas.microsoft.com/office/drawing/2014/main" val="409804065"/>
                    </a:ext>
                  </a:extLst>
                </a:gridCol>
                <a:gridCol w="289649">
                  <a:extLst>
                    <a:ext uri="{9D8B030D-6E8A-4147-A177-3AD203B41FA5}">
                      <a16:colId xmlns:a16="http://schemas.microsoft.com/office/drawing/2014/main" val="2844705686"/>
                    </a:ext>
                  </a:extLst>
                </a:gridCol>
                <a:gridCol w="289649">
                  <a:extLst>
                    <a:ext uri="{9D8B030D-6E8A-4147-A177-3AD203B41FA5}">
                      <a16:colId xmlns:a16="http://schemas.microsoft.com/office/drawing/2014/main" val="3610454136"/>
                    </a:ext>
                  </a:extLst>
                </a:gridCol>
                <a:gridCol w="289649">
                  <a:extLst>
                    <a:ext uri="{9D8B030D-6E8A-4147-A177-3AD203B41FA5}">
                      <a16:colId xmlns:a16="http://schemas.microsoft.com/office/drawing/2014/main" val="4280008137"/>
                    </a:ext>
                  </a:extLst>
                </a:gridCol>
                <a:gridCol w="289649">
                  <a:extLst>
                    <a:ext uri="{9D8B030D-6E8A-4147-A177-3AD203B41FA5}">
                      <a16:colId xmlns:a16="http://schemas.microsoft.com/office/drawing/2014/main" val="3906507711"/>
                    </a:ext>
                  </a:extLst>
                </a:gridCol>
                <a:gridCol w="289649">
                  <a:extLst>
                    <a:ext uri="{9D8B030D-6E8A-4147-A177-3AD203B41FA5}">
                      <a16:colId xmlns:a16="http://schemas.microsoft.com/office/drawing/2014/main" val="3812750801"/>
                    </a:ext>
                  </a:extLst>
                </a:gridCol>
                <a:gridCol w="289649">
                  <a:extLst>
                    <a:ext uri="{9D8B030D-6E8A-4147-A177-3AD203B41FA5}">
                      <a16:colId xmlns:a16="http://schemas.microsoft.com/office/drawing/2014/main" val="2427268895"/>
                    </a:ext>
                  </a:extLst>
                </a:gridCol>
                <a:gridCol w="289649">
                  <a:extLst>
                    <a:ext uri="{9D8B030D-6E8A-4147-A177-3AD203B41FA5}">
                      <a16:colId xmlns:a16="http://schemas.microsoft.com/office/drawing/2014/main" val="1522550992"/>
                    </a:ext>
                  </a:extLst>
                </a:gridCol>
                <a:gridCol w="289649">
                  <a:extLst>
                    <a:ext uri="{9D8B030D-6E8A-4147-A177-3AD203B41FA5}">
                      <a16:colId xmlns:a16="http://schemas.microsoft.com/office/drawing/2014/main" val="3177416342"/>
                    </a:ext>
                  </a:extLst>
                </a:gridCol>
              </a:tblGrid>
              <a:tr h="310410">
                <a:tc gridSpan="35">
                  <a:txBody>
                    <a:bodyPr/>
                    <a:lstStyle/>
                    <a:p>
                      <a:pPr algn="ctr"/>
                      <a:r>
                        <a:rPr lang="en-US" sz="1600">
                          <a:solidFill>
                            <a:schemeClr val="bg1"/>
                          </a:solidFill>
                          <a:latin typeface="Calibri" panose="020F0502020204030204" pitchFamily="34" charset="0"/>
                          <a:cs typeface="Calibri" panose="020F0502020204030204" pitchFamily="34" charset="0"/>
                        </a:rPr>
                        <a:t>Weekly Breakdown of High-Level Project Phases</a:t>
                      </a: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extLst>
                  <a:ext uri="{0D108BD9-81ED-4DB2-BD59-A6C34878D82A}">
                    <a16:rowId xmlns:a16="http://schemas.microsoft.com/office/drawing/2014/main" val="1212652788"/>
                  </a:ext>
                </a:extLst>
              </a:tr>
              <a:tr h="310410">
                <a:tc gridSpan="5">
                  <a:txBody>
                    <a:bodyPr/>
                    <a:lstStyle/>
                    <a:p>
                      <a:pPr algn="ctr"/>
                      <a:r>
                        <a:rPr lang="en-US" sz="1400">
                          <a:latin typeface="Calibri" panose="020F0502020204030204" pitchFamily="34" charset="0"/>
                          <a:cs typeface="Calibri" panose="020F0502020204030204" pitchFamily="34" charset="0"/>
                        </a:rPr>
                        <a:t>W1</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2</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3</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4</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5</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6</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gridSpan="5">
                  <a:txBody>
                    <a:bodyPr/>
                    <a:lstStyle/>
                    <a:p>
                      <a:pPr algn="ctr"/>
                      <a:r>
                        <a:rPr lang="en-US" sz="1400">
                          <a:latin typeface="Calibri" panose="020F0502020204030204" pitchFamily="34" charset="0"/>
                          <a:cs typeface="Calibri" panose="020F0502020204030204" pitchFamily="34" charset="0"/>
                        </a:rPr>
                        <a:t>W7</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gridSpan="4">
                  <a:txBody>
                    <a:bodyPr/>
                    <a:lstStyle/>
                    <a:p>
                      <a:pPr algn="ctr"/>
                      <a:r>
                        <a:rPr lang="en-GB" sz="1400">
                          <a:latin typeface="Calibri" panose="020F0502020204030204" pitchFamily="34" charset="0"/>
                          <a:cs typeface="Calibri" panose="020F0502020204030204" pitchFamily="34" charset="0"/>
                        </a:rPr>
                        <a:t>W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38881864"/>
                  </a:ext>
                </a:extLst>
              </a:tr>
              <a:tr h="139935">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7637782"/>
                  </a:ext>
                </a:extLst>
              </a:tr>
            </a:tbl>
          </a:graphicData>
        </a:graphic>
      </p:graphicFrame>
      <p:pic>
        <p:nvPicPr>
          <p:cNvPr id="7" name="Picture 6" descr="Text&#10;&#10;Description automatically generated with medium confidence">
            <a:extLst>
              <a:ext uri="{FF2B5EF4-FFF2-40B4-BE49-F238E27FC236}">
                <a16:creationId xmlns:a16="http://schemas.microsoft.com/office/drawing/2014/main" id="{66758A00-A127-5A04-2090-D40BECEFA6B2}"/>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0" y="-4164"/>
            <a:ext cx="12192000" cy="1479908"/>
          </a:xfrm>
          <a:prstGeom prst="rect">
            <a:avLst/>
          </a:prstGeom>
        </p:spPr>
      </p:pic>
      <p:sp>
        <p:nvSpPr>
          <p:cNvPr id="11" name="Title 1">
            <a:extLst>
              <a:ext uri="{FF2B5EF4-FFF2-40B4-BE49-F238E27FC236}">
                <a16:creationId xmlns:a16="http://schemas.microsoft.com/office/drawing/2014/main" id="{DC48ABD5-0559-7ADA-D98B-A07C8A2228CD}"/>
              </a:ext>
            </a:extLst>
          </p:cNvPr>
          <p:cNvSpPr txBox="1">
            <a:spLocks/>
          </p:cNvSpPr>
          <p:nvPr/>
        </p:nvSpPr>
        <p:spPr>
          <a:xfrm>
            <a:off x="0" y="-4164"/>
            <a:ext cx="12192000" cy="1487740"/>
          </a:xfrm>
          <a:prstGeom prst="rect">
            <a:avLst/>
          </a:prstGeom>
          <a:solidFill>
            <a:schemeClr val="tx1">
              <a:alpha val="65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PROJECT TIMELINE</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 name="TextBox 1">
            <a:extLst>
              <a:ext uri="{FF2B5EF4-FFF2-40B4-BE49-F238E27FC236}">
                <a16:creationId xmlns:a16="http://schemas.microsoft.com/office/drawing/2014/main" id="{002A78F5-96E6-03C6-2F89-7B30A9936DBB}"/>
              </a:ext>
            </a:extLst>
          </p:cNvPr>
          <p:cNvSpPr txBox="1"/>
          <p:nvPr/>
        </p:nvSpPr>
        <p:spPr>
          <a:xfrm>
            <a:off x="347229" y="1575726"/>
            <a:ext cx="9098067" cy="392159"/>
          </a:xfrm>
          <a:prstGeom prst="rect">
            <a:avLst/>
          </a:prstGeom>
          <a:noFill/>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Estimated duration: 8 Calendar Weeks </a:t>
            </a:r>
            <a:r>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May vary depending upon the client’s response)</a:t>
            </a:r>
            <a:endParaRPr kumimoji="0" lang="en-GB" sz="16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cxnSp>
        <p:nvCxnSpPr>
          <p:cNvPr id="4" name="Straight Connector 3">
            <a:extLst>
              <a:ext uri="{FF2B5EF4-FFF2-40B4-BE49-F238E27FC236}">
                <a16:creationId xmlns:a16="http://schemas.microsoft.com/office/drawing/2014/main" id="{57DCEAD2-8A2F-1C0A-DFC6-722DBFB3C891}"/>
              </a:ext>
            </a:extLst>
          </p:cNvPr>
          <p:cNvCxnSpPr/>
          <p:nvPr/>
        </p:nvCxnSpPr>
        <p:spPr>
          <a:xfrm>
            <a:off x="433089" y="2818757"/>
            <a:ext cx="10801" cy="2901356"/>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C8D1360D-D0FA-19D1-0008-2BAEE14E9662}"/>
              </a:ext>
            </a:extLst>
          </p:cNvPr>
          <p:cNvCxnSpPr/>
          <p:nvPr/>
        </p:nvCxnSpPr>
        <p:spPr>
          <a:xfrm>
            <a:off x="11710116" y="2837611"/>
            <a:ext cx="10801" cy="2901356"/>
          </a:xfrm>
          <a:prstGeom prst="line">
            <a:avLst/>
          </a:prstGeom>
          <a:ln w="57150"/>
        </p:spPr>
        <p:style>
          <a:lnRef idx="1">
            <a:schemeClr val="accent1"/>
          </a:lnRef>
          <a:fillRef idx="0">
            <a:schemeClr val="accent1"/>
          </a:fillRef>
          <a:effectRef idx="0">
            <a:schemeClr val="accent1"/>
          </a:effectRef>
          <a:fontRef idx="minor">
            <a:schemeClr val="tx1"/>
          </a:fontRef>
        </p:style>
      </p:cxnSp>
      <p:sp>
        <p:nvSpPr>
          <p:cNvPr id="45" name="Rectangle 44"/>
          <p:cNvSpPr/>
          <p:nvPr/>
        </p:nvSpPr>
        <p:spPr>
          <a:xfrm>
            <a:off x="468000" y="2808000"/>
            <a:ext cx="2879999" cy="720001"/>
          </a:xfrm>
          <a:prstGeom prst="rect">
            <a:avLst/>
          </a:prstGeom>
          <a:solidFill>
            <a:srgbClr val="4169E1"/>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sz="1400" b="1">
                <a:solidFill>
                  <a:srgbClr val="FFFFFF"/>
                </a:solidFill>
              </a:rPr>
              <a:t>Dummy Timeline 1</a:t>
            </a:r>
          </a:p>
        </p:txBody>
      </p:sp>
      <p:sp>
        <p:nvSpPr>
          <p:cNvPr id="46" name="Rectangle 45"/>
          <p:cNvSpPr/>
          <p:nvPr/>
        </p:nvSpPr>
        <p:spPr>
          <a:xfrm>
            <a:off x="3348000" y="2808000"/>
            <a:ext cx="5759999" cy="720001"/>
          </a:xfrm>
          <a:prstGeom prst="rect">
            <a:avLst/>
          </a:prstGeom>
          <a:solidFill>
            <a:srgbClr val="4169E1"/>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sz="1400" b="1">
                <a:solidFill>
                  <a:srgbClr val="FFFFFF"/>
                </a:solidFill>
              </a:rPr>
              <a:t>Dummy Timeline 2</a:t>
            </a:r>
          </a:p>
        </p:txBody>
      </p:sp>
    </p:spTree>
    <p:extLst>
      <p:ext uri="{BB962C8B-B14F-4D97-AF65-F5344CB8AC3E}">
        <p14:creationId xmlns:p14="http://schemas.microsoft.com/office/powerpoint/2010/main" val="408115"/>
      </p:ext>
    </p:extLst>
  </p:cSld>
  <p:clrMapOvr>
    <a:masterClrMapping/>
  </p:clrMapOvr>
  <p:extLst>
    <p:ext uri="{6950BFC3-D8DA-4A85-94F7-54DA5524770B}">
      <p188:commentRel xmlns:p188="http://schemas.microsoft.com/office/powerpoint/2018/8/main" r:id="rId3"/>
    </p:ext>
  </p:extLs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icture containing text&#10;&#10;Description automatically generated">
            <a:extLst>
              <a:ext uri="{FF2B5EF4-FFF2-40B4-BE49-F238E27FC236}">
                <a16:creationId xmlns:a16="http://schemas.microsoft.com/office/drawing/2014/main" id="{68B69424-DBBA-77FB-D5B9-BF4E2C99D2CD}"/>
              </a:ext>
            </a:extLst>
          </p:cNvPr>
          <p:cNvPicPr>
            <a:picLocks noGrp="1" noChangeAspect="1"/>
          </p:cNvPicPr>
          <p:nvPr>
            <p:ph type="pic" sz="quarter" idx="10"/>
          </p:nvPr>
        </p:nvPicPr>
        <p:blipFill>
          <a:blip r:embed="rId2"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p:txBody>
          <a:bodyPr/>
          <a:lstStyle/>
          <a:p>
            <a:r>
              <a:rPr lang="en-US"/>
              <a:t>PROJECT MANAGEMENT</a:t>
            </a:r>
            <a:endParaRPr lang="en-GB"/>
          </a:p>
        </p:txBody>
      </p:sp>
    </p:spTree>
    <p:extLst>
      <p:ext uri="{BB962C8B-B14F-4D97-AF65-F5344CB8AC3E}">
        <p14:creationId xmlns:p14="http://schemas.microsoft.com/office/powerpoint/2010/main" val="406565721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29969B44-2CDD-4BF0-FD3B-147311BCD556}"/>
              </a:ext>
            </a:extLst>
          </p:cNvPr>
          <p:cNvPicPr>
            <a:picLocks noGrp="1" noChangeAspect="1"/>
          </p:cNvPicPr>
          <p:nvPr>
            <p:ph type="pic" sz="quarter" idx="15"/>
          </p:nvPr>
        </p:nvPicPr>
        <p:blipFill rotWithShape="1">
          <a:blip r:embed="rId2">
            <a:extLst>
              <a:ext uri="{28A0092B-C50C-407E-A947-70E740481C1C}">
                <a14:useLocalDpi xmlns:a14="http://schemas.microsoft.com/office/drawing/2010/main" val="0"/>
              </a:ext>
            </a:extLst>
          </a:blip>
          <a:srcRect/>
          <a:stretch/>
        </p:blipFill>
        <p:spPr>
          <a:xfrm>
            <a:off x="-14288" y="-1"/>
            <a:ext cx="12206288" cy="1467854"/>
          </a:xfrm>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1" y="1"/>
            <a:ext cx="12206288" cy="1467854"/>
          </a:xfrm>
          <a:solidFill>
            <a:schemeClr val="tx1">
              <a:lumMod val="95000"/>
              <a:lumOff val="5000"/>
              <a:alpha val="66000"/>
            </a:schemeClr>
          </a:solidFill>
        </p:spPr>
        <p:txBody>
          <a:bodyPr/>
          <a:lstStyle/>
          <a:p>
            <a:r>
              <a:rPr lang="en-US"/>
              <a:t>PROJECT MANAGEMENT METHODOLOGY</a:t>
            </a:r>
            <a:endParaRPr lang="en-GB"/>
          </a:p>
        </p:txBody>
      </p:sp>
      <p:sp>
        <p:nvSpPr>
          <p:cNvPr id="6" name="Freeform 12">
            <a:extLst>
              <a:ext uri="{FF2B5EF4-FFF2-40B4-BE49-F238E27FC236}">
                <a16:creationId xmlns:a16="http://schemas.microsoft.com/office/drawing/2014/main" id="{3FDE8D3D-9BD7-4AFE-1123-9CD5370883C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8" name="Text Placeholder 8">
            <a:extLst>
              <a:ext uri="{FF2B5EF4-FFF2-40B4-BE49-F238E27FC236}">
                <a16:creationId xmlns:a16="http://schemas.microsoft.com/office/drawing/2014/main" id="{E43C51F5-401D-54D0-9708-63D129894B3A}"/>
              </a:ext>
            </a:extLst>
          </p:cNvPr>
          <p:cNvSpPr txBox="1">
            <a:spLocks/>
          </p:cNvSpPr>
          <p:nvPr/>
        </p:nvSpPr>
        <p:spPr>
          <a:xfrm>
            <a:off x="487129" y="1888288"/>
            <a:ext cx="10933346" cy="72019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just" defTabSz="8572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GRC360’s methodology is based on wide professional experience and in-depth knowledge of project management. Best practices are embedded across the project management activities from initiation to closing.</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228600" marR="0" lvl="0" indent="-228600" algn="just"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2800" b="0" i="0" u="none" strike="noStrike" kern="1200" cap="none" spc="0" normalizeH="0" baseline="0" noProof="0">
              <a:ln>
                <a:noFill/>
              </a:ln>
              <a:solidFill>
                <a:srgbClr val="000000"/>
              </a:solidFill>
              <a:effectLst/>
              <a:uLnTx/>
              <a:uFillTx/>
              <a:latin typeface="Calibri"/>
              <a:ea typeface="+mn-ea"/>
              <a:cs typeface="+mn-cs"/>
            </a:endParaRPr>
          </a:p>
        </p:txBody>
      </p:sp>
      <p:grpSp>
        <p:nvGrpSpPr>
          <p:cNvPr id="96" name="Group 95">
            <a:extLst>
              <a:ext uri="{FF2B5EF4-FFF2-40B4-BE49-F238E27FC236}">
                <a16:creationId xmlns:a16="http://schemas.microsoft.com/office/drawing/2014/main" id="{E1A58BBC-0A47-C1BA-5278-41257CA205BF}"/>
              </a:ext>
            </a:extLst>
          </p:cNvPr>
          <p:cNvGrpSpPr/>
          <p:nvPr/>
        </p:nvGrpSpPr>
        <p:grpSpPr>
          <a:xfrm>
            <a:off x="2289968" y="2875754"/>
            <a:ext cx="7797800" cy="3125349"/>
            <a:chOff x="2299493" y="3047204"/>
            <a:chExt cx="7797800" cy="3125349"/>
          </a:xfrm>
        </p:grpSpPr>
        <p:grpSp>
          <p:nvGrpSpPr>
            <p:cNvPr id="19" name="Группа 137">
              <a:extLst>
                <a:ext uri="{FF2B5EF4-FFF2-40B4-BE49-F238E27FC236}">
                  <a16:creationId xmlns:a16="http://schemas.microsoft.com/office/drawing/2014/main" id="{507FFCFA-5193-3ACB-1445-A29C67FA7592}"/>
                </a:ext>
              </a:extLst>
            </p:cNvPr>
            <p:cNvGrpSpPr/>
            <p:nvPr/>
          </p:nvGrpSpPr>
          <p:grpSpPr>
            <a:xfrm>
              <a:off x="2299493" y="4249516"/>
              <a:ext cx="7797800" cy="730250"/>
              <a:chOff x="962026" y="3490913"/>
              <a:chExt cx="7797800" cy="730250"/>
            </a:xfrm>
          </p:grpSpPr>
          <p:sp>
            <p:nvSpPr>
              <p:cNvPr id="20" name="Line 5">
                <a:extLst>
                  <a:ext uri="{FF2B5EF4-FFF2-40B4-BE49-F238E27FC236}">
                    <a16:creationId xmlns:a16="http://schemas.microsoft.com/office/drawing/2014/main" id="{3411F08F-4114-266F-AD19-68F0728A6AA7}"/>
                  </a:ext>
                </a:extLst>
              </p:cNvPr>
              <p:cNvSpPr>
                <a:spLocks noChangeShapeType="1"/>
              </p:cNvSpPr>
              <p:nvPr/>
            </p:nvSpPr>
            <p:spPr bwMode="auto">
              <a:xfrm>
                <a:off x="7400926" y="3856038"/>
                <a:ext cx="1073150" cy="0"/>
              </a:xfrm>
              <a:prstGeom prst="line">
                <a:avLst/>
              </a:prstGeom>
              <a:noFill/>
              <a:ln w="60325" cap="rnd">
                <a:solidFill>
                  <a:srgbClr val="473C4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1" name="Oval 6">
                <a:extLst>
                  <a:ext uri="{FF2B5EF4-FFF2-40B4-BE49-F238E27FC236}">
                    <a16:creationId xmlns:a16="http://schemas.microsoft.com/office/drawing/2014/main" id="{E0A4BAA5-79FB-BAE4-6396-CAB64CDF1784}"/>
                  </a:ext>
                </a:extLst>
              </p:cNvPr>
              <p:cNvSpPr>
                <a:spLocks noChangeArrowheads="1"/>
              </p:cNvSpPr>
              <p:nvPr/>
            </p:nvSpPr>
            <p:spPr bwMode="auto">
              <a:xfrm>
                <a:off x="8474076" y="3713163"/>
                <a:ext cx="285750" cy="285750"/>
              </a:xfrm>
              <a:prstGeom prst="ellipse">
                <a:avLst/>
              </a:prstGeom>
              <a:noFill/>
              <a:ln w="60325" cap="rnd">
                <a:solidFill>
                  <a:srgbClr val="473C4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2" name="Freeform 7">
                <a:extLst>
                  <a:ext uri="{FF2B5EF4-FFF2-40B4-BE49-F238E27FC236}">
                    <a16:creationId xmlns:a16="http://schemas.microsoft.com/office/drawing/2014/main" id="{BBD3C7D4-74F6-F664-14EC-A7C77428C239}"/>
                  </a:ext>
                </a:extLst>
              </p:cNvPr>
              <p:cNvSpPr>
                <a:spLocks/>
              </p:cNvSpPr>
              <p:nvPr/>
            </p:nvSpPr>
            <p:spPr bwMode="auto">
              <a:xfrm>
                <a:off x="616902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3" name="Freeform 9">
                <a:extLst>
                  <a:ext uri="{FF2B5EF4-FFF2-40B4-BE49-F238E27FC236}">
                    <a16:creationId xmlns:a16="http://schemas.microsoft.com/office/drawing/2014/main" id="{531F4698-6B48-7207-8582-3945B4CEF6BE}"/>
                  </a:ext>
                </a:extLst>
              </p:cNvPr>
              <p:cNvSpPr>
                <a:spLocks/>
              </p:cNvSpPr>
              <p:nvPr/>
            </p:nvSpPr>
            <p:spPr bwMode="auto">
              <a:xfrm>
                <a:off x="4937126"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6" name="Freeform 15">
                <a:extLst>
                  <a:ext uri="{FF2B5EF4-FFF2-40B4-BE49-F238E27FC236}">
                    <a16:creationId xmlns:a16="http://schemas.microsoft.com/office/drawing/2014/main" id="{6E187D14-1C4C-494D-BEDC-A2D597DB58EE}"/>
                  </a:ext>
                </a:extLst>
              </p:cNvPr>
              <p:cNvSpPr>
                <a:spLocks/>
              </p:cNvSpPr>
              <p:nvPr/>
            </p:nvSpPr>
            <p:spPr bwMode="auto">
              <a:xfrm>
                <a:off x="3709988"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7" name="Freeform 17">
                <a:extLst>
                  <a:ext uri="{FF2B5EF4-FFF2-40B4-BE49-F238E27FC236}">
                    <a16:creationId xmlns:a16="http://schemas.microsoft.com/office/drawing/2014/main" id="{09114DC3-92FE-B268-8151-49EA68931AF1}"/>
                  </a:ext>
                </a:extLst>
              </p:cNvPr>
              <p:cNvSpPr>
                <a:spLocks/>
              </p:cNvSpPr>
              <p:nvPr/>
            </p:nvSpPr>
            <p:spPr bwMode="auto">
              <a:xfrm>
                <a:off x="2478088"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8" name="Freeform 19">
                <a:extLst>
                  <a:ext uri="{FF2B5EF4-FFF2-40B4-BE49-F238E27FC236}">
                    <a16:creationId xmlns:a16="http://schemas.microsoft.com/office/drawing/2014/main" id="{0B6BDB20-A513-6D8A-5FD2-890AD1896572}"/>
                  </a:ext>
                </a:extLst>
              </p:cNvPr>
              <p:cNvSpPr>
                <a:spLocks/>
              </p:cNvSpPr>
              <p:nvPr/>
            </p:nvSpPr>
            <p:spPr bwMode="auto">
              <a:xfrm>
                <a:off x="124777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9" name="Oval 21">
                <a:extLst>
                  <a:ext uri="{FF2B5EF4-FFF2-40B4-BE49-F238E27FC236}">
                    <a16:creationId xmlns:a16="http://schemas.microsoft.com/office/drawing/2014/main" id="{E372B2D1-4DF9-4735-2721-2095AC9D1649}"/>
                  </a:ext>
                </a:extLst>
              </p:cNvPr>
              <p:cNvSpPr>
                <a:spLocks noChangeArrowheads="1"/>
              </p:cNvSpPr>
              <p:nvPr/>
            </p:nvSpPr>
            <p:spPr bwMode="auto">
              <a:xfrm>
                <a:off x="962026" y="3713163"/>
                <a:ext cx="285750" cy="2857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grpSp>
        <p:grpSp>
          <p:nvGrpSpPr>
            <p:cNvPr id="30" name="Группа 136">
              <a:extLst>
                <a:ext uri="{FF2B5EF4-FFF2-40B4-BE49-F238E27FC236}">
                  <a16:creationId xmlns:a16="http://schemas.microsoft.com/office/drawing/2014/main" id="{4A92D42E-21CD-560F-4E4E-751A5F6B3CD7}"/>
                </a:ext>
              </a:extLst>
            </p:cNvPr>
            <p:cNvGrpSpPr/>
            <p:nvPr/>
          </p:nvGrpSpPr>
          <p:grpSpPr>
            <a:xfrm>
              <a:off x="3222331" y="3354166"/>
              <a:ext cx="5824538" cy="2520950"/>
              <a:chOff x="1874838" y="2595563"/>
              <a:chExt cx="5824538" cy="2520950"/>
            </a:xfrm>
          </p:grpSpPr>
          <p:sp>
            <p:nvSpPr>
              <p:cNvPr id="31" name="Oval 8">
                <a:extLst>
                  <a:ext uri="{FF2B5EF4-FFF2-40B4-BE49-F238E27FC236}">
                    <a16:creationId xmlns:a16="http://schemas.microsoft.com/office/drawing/2014/main" id="{5849453A-256F-154E-EEE0-9FD33D49BBCA}"/>
                  </a:ext>
                </a:extLst>
              </p:cNvPr>
              <p:cNvSpPr>
                <a:spLocks noChangeArrowheads="1"/>
              </p:cNvSpPr>
              <p:nvPr/>
            </p:nvSpPr>
            <p:spPr bwMode="auto">
              <a:xfrm>
                <a:off x="6805613" y="2595563"/>
                <a:ext cx="893763" cy="895350"/>
              </a:xfrm>
              <a:prstGeom prst="ellipse">
                <a:avLst/>
              </a:pr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2" name="Oval 10">
                <a:extLst>
                  <a:ext uri="{FF2B5EF4-FFF2-40B4-BE49-F238E27FC236}">
                    <a16:creationId xmlns:a16="http://schemas.microsoft.com/office/drawing/2014/main" id="{15E3C3EC-9F86-8AD2-DD4B-6A41DCD23F84}"/>
                  </a:ext>
                </a:extLst>
              </p:cNvPr>
              <p:cNvSpPr>
                <a:spLocks noChangeArrowheads="1"/>
              </p:cNvSpPr>
              <p:nvPr/>
            </p:nvSpPr>
            <p:spPr bwMode="auto">
              <a:xfrm>
                <a:off x="5570538" y="4221163"/>
                <a:ext cx="896938" cy="895350"/>
              </a:xfrm>
              <a:prstGeom prst="ellipse">
                <a:avLst/>
              </a:pr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5" name="Oval 16">
                <a:extLst>
                  <a:ext uri="{FF2B5EF4-FFF2-40B4-BE49-F238E27FC236}">
                    <a16:creationId xmlns:a16="http://schemas.microsoft.com/office/drawing/2014/main" id="{DDEE4BD7-920C-55D8-795E-637F1E15ADAB}"/>
                  </a:ext>
                </a:extLst>
              </p:cNvPr>
              <p:cNvSpPr>
                <a:spLocks noChangeArrowheads="1"/>
              </p:cNvSpPr>
              <p:nvPr/>
            </p:nvSpPr>
            <p:spPr bwMode="auto">
              <a:xfrm>
                <a:off x="4337051" y="2595563"/>
                <a:ext cx="893763" cy="895350"/>
              </a:xfrm>
              <a:prstGeom prst="ellipse">
                <a:avLst/>
              </a:pr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6" name="Oval 18">
                <a:extLst>
                  <a:ext uri="{FF2B5EF4-FFF2-40B4-BE49-F238E27FC236}">
                    <a16:creationId xmlns:a16="http://schemas.microsoft.com/office/drawing/2014/main" id="{A6B76A6F-76D8-F7FE-367D-F5BDF4703DE2}"/>
                  </a:ext>
                </a:extLst>
              </p:cNvPr>
              <p:cNvSpPr>
                <a:spLocks noChangeArrowheads="1"/>
              </p:cNvSpPr>
              <p:nvPr/>
            </p:nvSpPr>
            <p:spPr bwMode="auto">
              <a:xfrm>
                <a:off x="3101976" y="4221163"/>
                <a:ext cx="896938" cy="895350"/>
              </a:xfrm>
              <a:prstGeom prst="ellipse">
                <a:avLst/>
              </a:pr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7" name="Oval 20">
                <a:extLst>
                  <a:ext uri="{FF2B5EF4-FFF2-40B4-BE49-F238E27FC236}">
                    <a16:creationId xmlns:a16="http://schemas.microsoft.com/office/drawing/2014/main" id="{02994275-82C6-400F-1677-9147C959BCFE}"/>
                  </a:ext>
                </a:extLst>
              </p:cNvPr>
              <p:cNvSpPr>
                <a:spLocks noChangeArrowheads="1"/>
              </p:cNvSpPr>
              <p:nvPr/>
            </p:nvSpPr>
            <p:spPr bwMode="auto">
              <a:xfrm>
                <a:off x="1874838" y="2595563"/>
                <a:ext cx="892175" cy="8953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grpSp>
        <p:sp>
          <p:nvSpPr>
            <p:cNvPr id="85" name="Freeform 43">
              <a:extLst>
                <a:ext uri="{FF2B5EF4-FFF2-40B4-BE49-F238E27FC236}">
                  <a16:creationId xmlns:a16="http://schemas.microsoft.com/office/drawing/2014/main" id="{1EB1C631-E5CF-8334-785F-F2155A6FD0CE}"/>
                </a:ext>
              </a:extLst>
            </p:cNvPr>
            <p:cNvSpPr>
              <a:spLocks noEditPoints="1"/>
            </p:cNvSpPr>
            <p:nvPr/>
          </p:nvSpPr>
          <p:spPr bwMode="auto">
            <a:xfrm>
              <a:off x="8370195" y="3655811"/>
              <a:ext cx="446885" cy="380186"/>
            </a:xfrm>
            <a:custGeom>
              <a:avLst/>
              <a:gdLst>
                <a:gd name="T0" fmla="*/ 193 w 221"/>
                <a:gd name="T1" fmla="*/ 102 h 187"/>
                <a:gd name="T2" fmla="*/ 221 w 221"/>
                <a:gd name="T3" fmla="*/ 74 h 187"/>
                <a:gd name="T4" fmla="*/ 147 w 221"/>
                <a:gd name="T5" fmla="*/ 0 h 187"/>
                <a:gd name="T6" fmla="*/ 119 w 221"/>
                <a:gd name="T7" fmla="*/ 29 h 187"/>
                <a:gd name="T8" fmla="*/ 125 w 221"/>
                <a:gd name="T9" fmla="*/ 34 h 187"/>
                <a:gd name="T10" fmla="*/ 114 w 221"/>
                <a:gd name="T11" fmla="*/ 46 h 187"/>
                <a:gd name="T12" fmla="*/ 102 w 221"/>
                <a:gd name="T13" fmla="*/ 34 h 187"/>
                <a:gd name="T14" fmla="*/ 108 w 221"/>
                <a:gd name="T15" fmla="*/ 29 h 187"/>
                <a:gd name="T16" fmla="*/ 80 w 221"/>
                <a:gd name="T17" fmla="*/ 0 h 187"/>
                <a:gd name="T18" fmla="*/ 0 w 221"/>
                <a:gd name="T19" fmla="*/ 80 h 187"/>
                <a:gd name="T20" fmla="*/ 29 w 221"/>
                <a:gd name="T21" fmla="*/ 108 h 187"/>
                <a:gd name="T22" fmla="*/ 34 w 221"/>
                <a:gd name="T23" fmla="*/ 102 h 187"/>
                <a:gd name="T24" fmla="*/ 119 w 221"/>
                <a:gd name="T25" fmla="*/ 187 h 187"/>
                <a:gd name="T26" fmla="*/ 187 w 221"/>
                <a:gd name="T27" fmla="*/ 119 h 187"/>
                <a:gd name="T28" fmla="*/ 176 w 221"/>
                <a:gd name="T29" fmla="*/ 108 h 187"/>
                <a:gd name="T30" fmla="*/ 187 w 221"/>
                <a:gd name="T31" fmla="*/ 96 h 187"/>
                <a:gd name="T32" fmla="*/ 193 w 221"/>
                <a:gd name="T33" fmla="*/ 102 h 187"/>
                <a:gd name="T34" fmla="*/ 12 w 221"/>
                <a:gd name="T35" fmla="*/ 80 h 187"/>
                <a:gd name="T36" fmla="*/ 80 w 221"/>
                <a:gd name="T37" fmla="*/ 12 h 187"/>
                <a:gd name="T38" fmla="*/ 97 w 221"/>
                <a:gd name="T39" fmla="*/ 29 h 187"/>
                <a:gd name="T40" fmla="*/ 29 w 221"/>
                <a:gd name="T41" fmla="*/ 96 h 187"/>
                <a:gd name="T42" fmla="*/ 12 w 221"/>
                <a:gd name="T43" fmla="*/ 80 h 187"/>
                <a:gd name="T44" fmla="*/ 167 w 221"/>
                <a:gd name="T45" fmla="*/ 128 h 187"/>
                <a:gd name="T46" fmla="*/ 142 w 221"/>
                <a:gd name="T47" fmla="*/ 102 h 187"/>
                <a:gd name="T48" fmla="*/ 136 w 221"/>
                <a:gd name="T49" fmla="*/ 102 h 187"/>
                <a:gd name="T50" fmla="*/ 136 w 221"/>
                <a:gd name="T51" fmla="*/ 108 h 187"/>
                <a:gd name="T52" fmla="*/ 162 w 221"/>
                <a:gd name="T53" fmla="*/ 133 h 187"/>
                <a:gd name="T54" fmla="*/ 150 w 221"/>
                <a:gd name="T55" fmla="*/ 145 h 187"/>
                <a:gd name="T56" fmla="*/ 125 w 221"/>
                <a:gd name="T57" fmla="*/ 119 h 187"/>
                <a:gd name="T58" fmla="*/ 119 w 221"/>
                <a:gd name="T59" fmla="*/ 119 h 187"/>
                <a:gd name="T60" fmla="*/ 119 w 221"/>
                <a:gd name="T61" fmla="*/ 125 h 187"/>
                <a:gd name="T62" fmla="*/ 145 w 221"/>
                <a:gd name="T63" fmla="*/ 150 h 187"/>
                <a:gd name="T64" fmla="*/ 145 w 221"/>
                <a:gd name="T65" fmla="*/ 150 h 187"/>
                <a:gd name="T66" fmla="*/ 133 w 221"/>
                <a:gd name="T67" fmla="*/ 162 h 187"/>
                <a:gd name="T68" fmla="*/ 108 w 221"/>
                <a:gd name="T69" fmla="*/ 136 h 187"/>
                <a:gd name="T70" fmla="*/ 102 w 221"/>
                <a:gd name="T71" fmla="*/ 136 h 187"/>
                <a:gd name="T72" fmla="*/ 102 w 221"/>
                <a:gd name="T73" fmla="*/ 142 h 187"/>
                <a:gd name="T74" fmla="*/ 128 w 221"/>
                <a:gd name="T75" fmla="*/ 167 h 187"/>
                <a:gd name="T76" fmla="*/ 128 w 221"/>
                <a:gd name="T77" fmla="*/ 167 h 187"/>
                <a:gd name="T78" fmla="*/ 119 w 221"/>
                <a:gd name="T79" fmla="*/ 176 h 187"/>
                <a:gd name="T80" fmla="*/ 40 w 221"/>
                <a:gd name="T81" fmla="*/ 96 h 187"/>
                <a:gd name="T82" fmla="*/ 97 w 221"/>
                <a:gd name="T83" fmla="*/ 40 h 187"/>
                <a:gd name="T84" fmla="*/ 108 w 221"/>
                <a:gd name="T85" fmla="*/ 51 h 187"/>
                <a:gd name="T86" fmla="*/ 77 w 221"/>
                <a:gd name="T87" fmla="*/ 82 h 187"/>
                <a:gd name="T88" fmla="*/ 99 w 221"/>
                <a:gd name="T89" fmla="*/ 105 h 187"/>
                <a:gd name="T90" fmla="*/ 130 w 221"/>
                <a:gd name="T91" fmla="*/ 74 h 187"/>
                <a:gd name="T92" fmla="*/ 176 w 221"/>
                <a:gd name="T93" fmla="*/ 119 h 187"/>
                <a:gd name="T94" fmla="*/ 167 w 221"/>
                <a:gd name="T95" fmla="*/ 128 h 187"/>
                <a:gd name="T96" fmla="*/ 170 w 221"/>
                <a:gd name="T97" fmla="*/ 102 h 187"/>
                <a:gd name="T98" fmla="*/ 133 w 221"/>
                <a:gd name="T99" fmla="*/ 65 h 187"/>
                <a:gd name="T100" fmla="*/ 128 w 221"/>
                <a:gd name="T101" fmla="*/ 65 h 187"/>
                <a:gd name="T102" fmla="*/ 99 w 221"/>
                <a:gd name="T103" fmla="*/ 94 h 187"/>
                <a:gd name="T104" fmla="*/ 88 w 221"/>
                <a:gd name="T105" fmla="*/ 82 h 187"/>
                <a:gd name="T106" fmla="*/ 116 w 221"/>
                <a:gd name="T107" fmla="*/ 54 h 187"/>
                <a:gd name="T108" fmla="*/ 130 w 221"/>
                <a:gd name="T109" fmla="*/ 40 h 187"/>
                <a:gd name="T110" fmla="*/ 181 w 221"/>
                <a:gd name="T111" fmla="*/ 91 h 187"/>
                <a:gd name="T112" fmla="*/ 170 w 221"/>
                <a:gd name="T113" fmla="*/ 102 h 187"/>
                <a:gd name="T114" fmla="*/ 147 w 221"/>
                <a:gd name="T115" fmla="*/ 12 h 187"/>
                <a:gd name="T116" fmla="*/ 210 w 221"/>
                <a:gd name="T117" fmla="*/ 74 h 187"/>
                <a:gd name="T118" fmla="*/ 193 w 221"/>
                <a:gd name="T119" fmla="*/ 91 h 187"/>
                <a:gd name="T120" fmla="*/ 130 w 221"/>
                <a:gd name="T121" fmla="*/ 29 h 187"/>
                <a:gd name="T122" fmla="*/ 147 w 221"/>
                <a:gd name="T123" fmla="*/ 12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1" h="187">
                  <a:moveTo>
                    <a:pt x="193" y="102"/>
                  </a:moveTo>
                  <a:cubicBezTo>
                    <a:pt x="221" y="74"/>
                    <a:pt x="221" y="74"/>
                    <a:pt x="221" y="74"/>
                  </a:cubicBezTo>
                  <a:cubicBezTo>
                    <a:pt x="147" y="0"/>
                    <a:pt x="147" y="0"/>
                    <a:pt x="147" y="0"/>
                  </a:cubicBezTo>
                  <a:cubicBezTo>
                    <a:pt x="119" y="29"/>
                    <a:pt x="119" y="29"/>
                    <a:pt x="119" y="29"/>
                  </a:cubicBezTo>
                  <a:cubicBezTo>
                    <a:pt x="125" y="34"/>
                    <a:pt x="125" y="34"/>
                    <a:pt x="125" y="34"/>
                  </a:cubicBezTo>
                  <a:cubicBezTo>
                    <a:pt x="114" y="46"/>
                    <a:pt x="114" y="46"/>
                    <a:pt x="114" y="46"/>
                  </a:cubicBezTo>
                  <a:cubicBezTo>
                    <a:pt x="102" y="34"/>
                    <a:pt x="102" y="34"/>
                    <a:pt x="102" y="34"/>
                  </a:cubicBezTo>
                  <a:cubicBezTo>
                    <a:pt x="108" y="29"/>
                    <a:pt x="108" y="29"/>
                    <a:pt x="108" y="29"/>
                  </a:cubicBezTo>
                  <a:cubicBezTo>
                    <a:pt x="80" y="0"/>
                    <a:pt x="80" y="0"/>
                    <a:pt x="80" y="0"/>
                  </a:cubicBezTo>
                  <a:cubicBezTo>
                    <a:pt x="0" y="80"/>
                    <a:pt x="0" y="80"/>
                    <a:pt x="0" y="80"/>
                  </a:cubicBezTo>
                  <a:cubicBezTo>
                    <a:pt x="29" y="108"/>
                    <a:pt x="29" y="108"/>
                    <a:pt x="29" y="108"/>
                  </a:cubicBezTo>
                  <a:cubicBezTo>
                    <a:pt x="34" y="102"/>
                    <a:pt x="34" y="102"/>
                    <a:pt x="34" y="102"/>
                  </a:cubicBezTo>
                  <a:cubicBezTo>
                    <a:pt x="119" y="187"/>
                    <a:pt x="119" y="187"/>
                    <a:pt x="119" y="187"/>
                  </a:cubicBezTo>
                  <a:cubicBezTo>
                    <a:pt x="187" y="119"/>
                    <a:pt x="187" y="119"/>
                    <a:pt x="187" y="119"/>
                  </a:cubicBezTo>
                  <a:cubicBezTo>
                    <a:pt x="176" y="108"/>
                    <a:pt x="176" y="108"/>
                    <a:pt x="176" y="108"/>
                  </a:cubicBezTo>
                  <a:cubicBezTo>
                    <a:pt x="187" y="96"/>
                    <a:pt x="187" y="96"/>
                    <a:pt x="187" y="96"/>
                  </a:cubicBezTo>
                  <a:lnTo>
                    <a:pt x="193" y="102"/>
                  </a:lnTo>
                  <a:close/>
                  <a:moveTo>
                    <a:pt x="12" y="80"/>
                  </a:moveTo>
                  <a:cubicBezTo>
                    <a:pt x="80" y="12"/>
                    <a:pt x="80" y="12"/>
                    <a:pt x="80" y="12"/>
                  </a:cubicBezTo>
                  <a:cubicBezTo>
                    <a:pt x="97" y="29"/>
                    <a:pt x="97" y="29"/>
                    <a:pt x="97" y="29"/>
                  </a:cubicBezTo>
                  <a:cubicBezTo>
                    <a:pt x="29" y="96"/>
                    <a:pt x="29" y="96"/>
                    <a:pt x="29" y="96"/>
                  </a:cubicBezTo>
                  <a:lnTo>
                    <a:pt x="12" y="80"/>
                  </a:lnTo>
                  <a:close/>
                  <a:moveTo>
                    <a:pt x="167" y="128"/>
                  </a:moveTo>
                  <a:cubicBezTo>
                    <a:pt x="142" y="102"/>
                    <a:pt x="142" y="102"/>
                    <a:pt x="142" y="102"/>
                  </a:cubicBezTo>
                  <a:cubicBezTo>
                    <a:pt x="140" y="101"/>
                    <a:pt x="138" y="101"/>
                    <a:pt x="136" y="102"/>
                  </a:cubicBezTo>
                  <a:cubicBezTo>
                    <a:pt x="135" y="104"/>
                    <a:pt x="135" y="106"/>
                    <a:pt x="136" y="108"/>
                  </a:cubicBezTo>
                  <a:cubicBezTo>
                    <a:pt x="162" y="133"/>
                    <a:pt x="162" y="133"/>
                    <a:pt x="162" y="133"/>
                  </a:cubicBezTo>
                  <a:cubicBezTo>
                    <a:pt x="150" y="145"/>
                    <a:pt x="150" y="145"/>
                    <a:pt x="150" y="145"/>
                  </a:cubicBezTo>
                  <a:cubicBezTo>
                    <a:pt x="125" y="119"/>
                    <a:pt x="125" y="119"/>
                    <a:pt x="125" y="119"/>
                  </a:cubicBezTo>
                  <a:cubicBezTo>
                    <a:pt x="123" y="118"/>
                    <a:pt x="121" y="118"/>
                    <a:pt x="119" y="119"/>
                  </a:cubicBezTo>
                  <a:cubicBezTo>
                    <a:pt x="118" y="121"/>
                    <a:pt x="118" y="123"/>
                    <a:pt x="119" y="125"/>
                  </a:cubicBezTo>
                  <a:cubicBezTo>
                    <a:pt x="145" y="150"/>
                    <a:pt x="145" y="150"/>
                    <a:pt x="145" y="150"/>
                  </a:cubicBezTo>
                  <a:cubicBezTo>
                    <a:pt x="145" y="150"/>
                    <a:pt x="145" y="150"/>
                    <a:pt x="145" y="150"/>
                  </a:cubicBezTo>
                  <a:cubicBezTo>
                    <a:pt x="133" y="162"/>
                    <a:pt x="133" y="162"/>
                    <a:pt x="133" y="162"/>
                  </a:cubicBezTo>
                  <a:cubicBezTo>
                    <a:pt x="108" y="136"/>
                    <a:pt x="108" y="136"/>
                    <a:pt x="108" y="136"/>
                  </a:cubicBezTo>
                  <a:cubicBezTo>
                    <a:pt x="106" y="135"/>
                    <a:pt x="104" y="135"/>
                    <a:pt x="102" y="136"/>
                  </a:cubicBezTo>
                  <a:cubicBezTo>
                    <a:pt x="101" y="138"/>
                    <a:pt x="101" y="140"/>
                    <a:pt x="102" y="142"/>
                  </a:cubicBezTo>
                  <a:cubicBezTo>
                    <a:pt x="128" y="167"/>
                    <a:pt x="128" y="167"/>
                    <a:pt x="128" y="167"/>
                  </a:cubicBezTo>
                  <a:cubicBezTo>
                    <a:pt x="128" y="167"/>
                    <a:pt x="128" y="167"/>
                    <a:pt x="128" y="167"/>
                  </a:cubicBezTo>
                  <a:cubicBezTo>
                    <a:pt x="119" y="176"/>
                    <a:pt x="119" y="176"/>
                    <a:pt x="119" y="176"/>
                  </a:cubicBezTo>
                  <a:cubicBezTo>
                    <a:pt x="40" y="96"/>
                    <a:pt x="40" y="96"/>
                    <a:pt x="40" y="96"/>
                  </a:cubicBezTo>
                  <a:cubicBezTo>
                    <a:pt x="97" y="40"/>
                    <a:pt x="97" y="40"/>
                    <a:pt x="97" y="40"/>
                  </a:cubicBezTo>
                  <a:cubicBezTo>
                    <a:pt x="108" y="51"/>
                    <a:pt x="108" y="51"/>
                    <a:pt x="108" y="51"/>
                  </a:cubicBezTo>
                  <a:cubicBezTo>
                    <a:pt x="77" y="82"/>
                    <a:pt x="77" y="82"/>
                    <a:pt x="77" y="82"/>
                  </a:cubicBezTo>
                  <a:cubicBezTo>
                    <a:pt x="99" y="105"/>
                    <a:pt x="99" y="105"/>
                    <a:pt x="99" y="105"/>
                  </a:cubicBezTo>
                  <a:cubicBezTo>
                    <a:pt x="130" y="74"/>
                    <a:pt x="130" y="74"/>
                    <a:pt x="130" y="74"/>
                  </a:cubicBezTo>
                  <a:cubicBezTo>
                    <a:pt x="176" y="119"/>
                    <a:pt x="176" y="119"/>
                    <a:pt x="176" y="119"/>
                  </a:cubicBezTo>
                  <a:lnTo>
                    <a:pt x="167" y="128"/>
                  </a:lnTo>
                  <a:close/>
                  <a:moveTo>
                    <a:pt x="170" y="102"/>
                  </a:moveTo>
                  <a:cubicBezTo>
                    <a:pt x="133" y="65"/>
                    <a:pt x="133" y="65"/>
                    <a:pt x="133" y="65"/>
                  </a:cubicBezTo>
                  <a:cubicBezTo>
                    <a:pt x="132" y="64"/>
                    <a:pt x="129" y="64"/>
                    <a:pt x="128" y="65"/>
                  </a:cubicBezTo>
                  <a:cubicBezTo>
                    <a:pt x="99" y="94"/>
                    <a:pt x="99" y="94"/>
                    <a:pt x="99" y="94"/>
                  </a:cubicBezTo>
                  <a:cubicBezTo>
                    <a:pt x="88" y="82"/>
                    <a:pt x="88" y="82"/>
                    <a:pt x="88" y="82"/>
                  </a:cubicBezTo>
                  <a:cubicBezTo>
                    <a:pt x="116" y="54"/>
                    <a:pt x="116" y="54"/>
                    <a:pt x="116" y="54"/>
                  </a:cubicBezTo>
                  <a:cubicBezTo>
                    <a:pt x="130" y="40"/>
                    <a:pt x="130" y="40"/>
                    <a:pt x="130" y="40"/>
                  </a:cubicBezTo>
                  <a:cubicBezTo>
                    <a:pt x="181" y="91"/>
                    <a:pt x="181" y="91"/>
                    <a:pt x="181" y="91"/>
                  </a:cubicBezTo>
                  <a:lnTo>
                    <a:pt x="170" y="102"/>
                  </a:lnTo>
                  <a:close/>
                  <a:moveTo>
                    <a:pt x="147" y="12"/>
                  </a:moveTo>
                  <a:cubicBezTo>
                    <a:pt x="210" y="74"/>
                    <a:pt x="210" y="74"/>
                    <a:pt x="210" y="74"/>
                  </a:cubicBezTo>
                  <a:cubicBezTo>
                    <a:pt x="193" y="91"/>
                    <a:pt x="193" y="91"/>
                    <a:pt x="193" y="91"/>
                  </a:cubicBezTo>
                  <a:cubicBezTo>
                    <a:pt x="130" y="29"/>
                    <a:pt x="130" y="29"/>
                    <a:pt x="130" y="29"/>
                  </a:cubicBezTo>
                  <a:lnTo>
                    <a:pt x="147" y="12"/>
                  </a:lnTo>
                  <a:close/>
                </a:path>
              </a:pathLst>
            </a:custGeom>
            <a:solidFill>
              <a:srgbClr val="7396A0"/>
            </a:solidFill>
            <a:ln w="3175">
              <a:solidFill>
                <a:srgbClr val="7396A0"/>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86" name="TextBox 85">
              <a:extLst>
                <a:ext uri="{FF2B5EF4-FFF2-40B4-BE49-F238E27FC236}">
                  <a16:creationId xmlns:a16="http://schemas.microsoft.com/office/drawing/2014/main" id="{CACF68EA-E3D5-4B66-11D7-47868909053C}"/>
                </a:ext>
              </a:extLst>
            </p:cNvPr>
            <p:cNvSpPr txBox="1"/>
            <p:nvPr/>
          </p:nvSpPr>
          <p:spPr>
            <a:xfrm>
              <a:off x="8042775" y="3067642"/>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CLOSING</a:t>
              </a:r>
            </a:p>
          </p:txBody>
        </p:sp>
        <p:sp>
          <p:nvSpPr>
            <p:cNvPr id="87" name="TextBox 86">
              <a:extLst>
                <a:ext uri="{FF2B5EF4-FFF2-40B4-BE49-F238E27FC236}">
                  <a16:creationId xmlns:a16="http://schemas.microsoft.com/office/drawing/2014/main" id="{329B076E-EFAC-5CF5-0AB0-3EB225D6DABA}"/>
                </a:ext>
              </a:extLst>
            </p:cNvPr>
            <p:cNvSpPr txBox="1"/>
            <p:nvPr/>
          </p:nvSpPr>
          <p:spPr>
            <a:xfrm>
              <a:off x="6394445" y="5884641"/>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62588A"/>
                  </a:solidFill>
                  <a:effectLst/>
                  <a:uLnTx/>
                  <a:uFillTx/>
                  <a:latin typeface="Calibri"/>
                  <a:ea typeface="+mn-ea"/>
                  <a:cs typeface="+mn-cs"/>
                </a:rPr>
                <a:t>MONITORING &amp; CONTROL</a:t>
              </a:r>
            </a:p>
          </p:txBody>
        </p:sp>
        <p:sp>
          <p:nvSpPr>
            <p:cNvPr id="88" name="Freeform 55">
              <a:extLst>
                <a:ext uri="{FF2B5EF4-FFF2-40B4-BE49-F238E27FC236}">
                  <a16:creationId xmlns:a16="http://schemas.microsoft.com/office/drawing/2014/main" id="{0CCF1C3C-19A7-5FCB-AF19-7BD2B75F61E6}"/>
                </a:ext>
              </a:extLst>
            </p:cNvPr>
            <p:cNvSpPr>
              <a:spLocks noEditPoints="1"/>
            </p:cNvSpPr>
            <p:nvPr/>
          </p:nvSpPr>
          <p:spPr bwMode="auto">
            <a:xfrm>
              <a:off x="5909056" y="3549415"/>
              <a:ext cx="432000" cy="468000"/>
            </a:xfrm>
            <a:custGeom>
              <a:avLst/>
              <a:gdLst>
                <a:gd name="T0" fmla="*/ 38 w 194"/>
                <a:gd name="T1" fmla="*/ 133 h 202"/>
                <a:gd name="T2" fmla="*/ 100 w 194"/>
                <a:gd name="T3" fmla="*/ 133 h 202"/>
                <a:gd name="T4" fmla="*/ 69 w 194"/>
                <a:gd name="T5" fmla="*/ 154 h 202"/>
                <a:gd name="T6" fmla="*/ 69 w 194"/>
                <a:gd name="T7" fmla="*/ 112 h 202"/>
                <a:gd name="T8" fmla="*/ 69 w 194"/>
                <a:gd name="T9" fmla="*/ 154 h 202"/>
                <a:gd name="T10" fmla="*/ 131 w 194"/>
                <a:gd name="T11" fmla="*/ 97 h 202"/>
                <a:gd name="T12" fmla="*/ 105 w 194"/>
                <a:gd name="T13" fmla="*/ 71 h 202"/>
                <a:gd name="T14" fmla="*/ 69 w 194"/>
                <a:gd name="T15" fmla="*/ 76 h 202"/>
                <a:gd name="T16" fmla="*/ 33 w 194"/>
                <a:gd name="T17" fmla="*/ 71 h 202"/>
                <a:gd name="T18" fmla="*/ 7 w 194"/>
                <a:gd name="T19" fmla="*/ 97 h 202"/>
                <a:gd name="T20" fmla="*/ 13 w 194"/>
                <a:gd name="T21" fmla="*/ 133 h 202"/>
                <a:gd name="T22" fmla="*/ 7 w 194"/>
                <a:gd name="T23" fmla="*/ 168 h 202"/>
                <a:gd name="T24" fmla="*/ 33 w 194"/>
                <a:gd name="T25" fmla="*/ 194 h 202"/>
                <a:gd name="T26" fmla="*/ 69 w 194"/>
                <a:gd name="T27" fmla="*/ 189 h 202"/>
                <a:gd name="T28" fmla="*/ 105 w 194"/>
                <a:gd name="T29" fmla="*/ 194 h 202"/>
                <a:gd name="T30" fmla="*/ 131 w 194"/>
                <a:gd name="T31" fmla="*/ 168 h 202"/>
                <a:gd name="T32" fmla="*/ 125 w 194"/>
                <a:gd name="T33" fmla="*/ 133 h 202"/>
                <a:gd name="T34" fmla="*/ 69 w 194"/>
                <a:gd name="T35" fmla="*/ 167 h 202"/>
                <a:gd name="T36" fmla="*/ 69 w 194"/>
                <a:gd name="T37" fmla="*/ 98 h 202"/>
                <a:gd name="T38" fmla="*/ 69 w 194"/>
                <a:gd name="T39" fmla="*/ 167 h 202"/>
                <a:gd name="T40" fmla="*/ 194 w 194"/>
                <a:gd name="T41" fmla="*/ 29 h 202"/>
                <a:gd name="T42" fmla="*/ 177 w 194"/>
                <a:gd name="T43" fmla="*/ 17 h 202"/>
                <a:gd name="T44" fmla="*/ 165 w 194"/>
                <a:gd name="T45" fmla="*/ 0 h 202"/>
                <a:gd name="T46" fmla="*/ 144 w 194"/>
                <a:gd name="T47" fmla="*/ 0 h 202"/>
                <a:gd name="T48" fmla="*/ 132 w 194"/>
                <a:gd name="T49" fmla="*/ 17 h 202"/>
                <a:gd name="T50" fmla="*/ 115 w 194"/>
                <a:gd name="T51" fmla="*/ 29 h 202"/>
                <a:gd name="T52" fmla="*/ 115 w 194"/>
                <a:gd name="T53" fmla="*/ 51 h 202"/>
                <a:gd name="T54" fmla="*/ 132 w 194"/>
                <a:gd name="T55" fmla="*/ 63 h 202"/>
                <a:gd name="T56" fmla="*/ 144 w 194"/>
                <a:gd name="T57" fmla="*/ 80 h 202"/>
                <a:gd name="T58" fmla="*/ 165 w 194"/>
                <a:gd name="T59" fmla="*/ 80 h 202"/>
                <a:gd name="T60" fmla="*/ 177 w 194"/>
                <a:gd name="T61" fmla="*/ 63 h 202"/>
                <a:gd name="T62" fmla="*/ 194 w 194"/>
                <a:gd name="T63" fmla="*/ 51 h 202"/>
                <a:gd name="T64" fmla="*/ 155 w 194"/>
                <a:gd name="T65" fmla="*/ 57 h 202"/>
                <a:gd name="T66" fmla="*/ 155 w 194"/>
                <a:gd name="T67" fmla="*/ 23 h 202"/>
                <a:gd name="T68" fmla="*/ 155 w 194"/>
                <a:gd name="T69" fmla="*/ 57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4" h="202">
                  <a:moveTo>
                    <a:pt x="69" y="102"/>
                  </a:moveTo>
                  <a:cubicBezTo>
                    <a:pt x="52" y="102"/>
                    <a:pt x="38" y="115"/>
                    <a:pt x="38" y="133"/>
                  </a:cubicBezTo>
                  <a:cubicBezTo>
                    <a:pt x="38" y="150"/>
                    <a:pt x="52" y="164"/>
                    <a:pt x="69" y="164"/>
                  </a:cubicBezTo>
                  <a:cubicBezTo>
                    <a:pt x="86" y="164"/>
                    <a:pt x="100" y="150"/>
                    <a:pt x="100" y="133"/>
                  </a:cubicBezTo>
                  <a:cubicBezTo>
                    <a:pt x="100" y="115"/>
                    <a:pt x="86" y="102"/>
                    <a:pt x="69" y="102"/>
                  </a:cubicBezTo>
                  <a:moveTo>
                    <a:pt x="69" y="154"/>
                  </a:moveTo>
                  <a:cubicBezTo>
                    <a:pt x="57" y="154"/>
                    <a:pt x="48" y="144"/>
                    <a:pt x="48" y="133"/>
                  </a:cubicBezTo>
                  <a:cubicBezTo>
                    <a:pt x="48" y="121"/>
                    <a:pt x="57" y="112"/>
                    <a:pt x="69" y="112"/>
                  </a:cubicBezTo>
                  <a:cubicBezTo>
                    <a:pt x="80" y="112"/>
                    <a:pt x="90" y="121"/>
                    <a:pt x="90" y="133"/>
                  </a:cubicBezTo>
                  <a:cubicBezTo>
                    <a:pt x="90" y="144"/>
                    <a:pt x="80" y="154"/>
                    <a:pt x="69" y="154"/>
                  </a:cubicBezTo>
                  <a:moveTo>
                    <a:pt x="138" y="114"/>
                  </a:moveTo>
                  <a:cubicBezTo>
                    <a:pt x="136" y="108"/>
                    <a:pt x="134" y="102"/>
                    <a:pt x="131" y="97"/>
                  </a:cubicBezTo>
                  <a:cubicBezTo>
                    <a:pt x="124" y="100"/>
                    <a:pt x="115" y="99"/>
                    <a:pt x="109" y="93"/>
                  </a:cubicBezTo>
                  <a:cubicBezTo>
                    <a:pt x="103" y="87"/>
                    <a:pt x="101" y="78"/>
                    <a:pt x="105" y="71"/>
                  </a:cubicBezTo>
                  <a:cubicBezTo>
                    <a:pt x="99" y="68"/>
                    <a:pt x="94" y="65"/>
                    <a:pt x="87" y="64"/>
                  </a:cubicBezTo>
                  <a:cubicBezTo>
                    <a:pt x="85" y="71"/>
                    <a:pt x="77" y="76"/>
                    <a:pt x="69" y="76"/>
                  </a:cubicBezTo>
                  <a:cubicBezTo>
                    <a:pt x="60" y="76"/>
                    <a:pt x="53" y="71"/>
                    <a:pt x="51" y="64"/>
                  </a:cubicBezTo>
                  <a:cubicBezTo>
                    <a:pt x="44" y="65"/>
                    <a:pt x="39" y="68"/>
                    <a:pt x="33" y="71"/>
                  </a:cubicBezTo>
                  <a:cubicBezTo>
                    <a:pt x="36" y="78"/>
                    <a:pt x="35" y="87"/>
                    <a:pt x="29" y="93"/>
                  </a:cubicBezTo>
                  <a:cubicBezTo>
                    <a:pt x="23" y="99"/>
                    <a:pt x="14" y="100"/>
                    <a:pt x="7" y="97"/>
                  </a:cubicBezTo>
                  <a:cubicBezTo>
                    <a:pt x="4" y="102"/>
                    <a:pt x="2" y="108"/>
                    <a:pt x="0" y="114"/>
                  </a:cubicBezTo>
                  <a:cubicBezTo>
                    <a:pt x="7" y="117"/>
                    <a:pt x="13" y="124"/>
                    <a:pt x="13" y="133"/>
                  </a:cubicBezTo>
                  <a:cubicBezTo>
                    <a:pt x="13" y="141"/>
                    <a:pt x="7" y="148"/>
                    <a:pt x="0" y="151"/>
                  </a:cubicBezTo>
                  <a:cubicBezTo>
                    <a:pt x="2" y="157"/>
                    <a:pt x="4" y="163"/>
                    <a:pt x="7" y="168"/>
                  </a:cubicBezTo>
                  <a:cubicBezTo>
                    <a:pt x="14" y="165"/>
                    <a:pt x="23" y="166"/>
                    <a:pt x="29" y="172"/>
                  </a:cubicBezTo>
                  <a:cubicBezTo>
                    <a:pt x="35" y="178"/>
                    <a:pt x="36" y="187"/>
                    <a:pt x="33" y="194"/>
                  </a:cubicBezTo>
                  <a:cubicBezTo>
                    <a:pt x="39" y="198"/>
                    <a:pt x="44" y="200"/>
                    <a:pt x="51" y="202"/>
                  </a:cubicBezTo>
                  <a:cubicBezTo>
                    <a:pt x="53" y="194"/>
                    <a:pt x="60" y="189"/>
                    <a:pt x="69" y="189"/>
                  </a:cubicBezTo>
                  <a:cubicBezTo>
                    <a:pt x="77" y="189"/>
                    <a:pt x="85" y="194"/>
                    <a:pt x="87" y="202"/>
                  </a:cubicBezTo>
                  <a:cubicBezTo>
                    <a:pt x="94" y="200"/>
                    <a:pt x="99" y="198"/>
                    <a:pt x="105" y="194"/>
                  </a:cubicBezTo>
                  <a:cubicBezTo>
                    <a:pt x="101" y="187"/>
                    <a:pt x="103" y="178"/>
                    <a:pt x="109" y="172"/>
                  </a:cubicBezTo>
                  <a:cubicBezTo>
                    <a:pt x="115" y="166"/>
                    <a:pt x="124" y="165"/>
                    <a:pt x="131" y="168"/>
                  </a:cubicBezTo>
                  <a:cubicBezTo>
                    <a:pt x="134" y="163"/>
                    <a:pt x="136" y="157"/>
                    <a:pt x="138" y="151"/>
                  </a:cubicBezTo>
                  <a:cubicBezTo>
                    <a:pt x="130" y="148"/>
                    <a:pt x="125" y="141"/>
                    <a:pt x="125" y="133"/>
                  </a:cubicBezTo>
                  <a:cubicBezTo>
                    <a:pt x="125" y="124"/>
                    <a:pt x="130" y="117"/>
                    <a:pt x="138" y="114"/>
                  </a:cubicBezTo>
                  <a:moveTo>
                    <a:pt x="69" y="167"/>
                  </a:moveTo>
                  <a:cubicBezTo>
                    <a:pt x="50" y="167"/>
                    <a:pt x="35" y="152"/>
                    <a:pt x="35" y="133"/>
                  </a:cubicBezTo>
                  <a:cubicBezTo>
                    <a:pt x="35" y="114"/>
                    <a:pt x="50" y="98"/>
                    <a:pt x="69" y="98"/>
                  </a:cubicBezTo>
                  <a:cubicBezTo>
                    <a:pt x="88" y="98"/>
                    <a:pt x="103" y="114"/>
                    <a:pt x="103" y="133"/>
                  </a:cubicBezTo>
                  <a:cubicBezTo>
                    <a:pt x="103" y="152"/>
                    <a:pt x="88" y="167"/>
                    <a:pt x="69" y="167"/>
                  </a:cubicBezTo>
                  <a:moveTo>
                    <a:pt x="187" y="40"/>
                  </a:moveTo>
                  <a:cubicBezTo>
                    <a:pt x="187" y="35"/>
                    <a:pt x="190" y="31"/>
                    <a:pt x="194" y="29"/>
                  </a:cubicBezTo>
                  <a:cubicBezTo>
                    <a:pt x="193" y="26"/>
                    <a:pt x="192" y="22"/>
                    <a:pt x="190" y="19"/>
                  </a:cubicBezTo>
                  <a:cubicBezTo>
                    <a:pt x="186" y="21"/>
                    <a:pt x="181" y="21"/>
                    <a:pt x="177" y="17"/>
                  </a:cubicBezTo>
                  <a:cubicBezTo>
                    <a:pt x="174" y="14"/>
                    <a:pt x="173" y="8"/>
                    <a:pt x="175" y="4"/>
                  </a:cubicBezTo>
                  <a:cubicBezTo>
                    <a:pt x="172" y="2"/>
                    <a:pt x="169" y="1"/>
                    <a:pt x="165" y="0"/>
                  </a:cubicBezTo>
                  <a:cubicBezTo>
                    <a:pt x="164" y="4"/>
                    <a:pt x="159" y="8"/>
                    <a:pt x="155" y="8"/>
                  </a:cubicBezTo>
                  <a:cubicBezTo>
                    <a:pt x="150" y="8"/>
                    <a:pt x="145" y="4"/>
                    <a:pt x="144" y="0"/>
                  </a:cubicBezTo>
                  <a:cubicBezTo>
                    <a:pt x="140" y="1"/>
                    <a:pt x="137" y="2"/>
                    <a:pt x="134" y="4"/>
                  </a:cubicBezTo>
                  <a:cubicBezTo>
                    <a:pt x="136" y="8"/>
                    <a:pt x="135" y="14"/>
                    <a:pt x="132" y="17"/>
                  </a:cubicBezTo>
                  <a:cubicBezTo>
                    <a:pt x="128" y="21"/>
                    <a:pt x="123" y="21"/>
                    <a:pt x="119" y="19"/>
                  </a:cubicBezTo>
                  <a:cubicBezTo>
                    <a:pt x="117" y="22"/>
                    <a:pt x="116" y="26"/>
                    <a:pt x="115" y="29"/>
                  </a:cubicBezTo>
                  <a:cubicBezTo>
                    <a:pt x="119" y="31"/>
                    <a:pt x="122" y="35"/>
                    <a:pt x="122" y="40"/>
                  </a:cubicBezTo>
                  <a:cubicBezTo>
                    <a:pt x="122" y="45"/>
                    <a:pt x="119" y="49"/>
                    <a:pt x="115" y="51"/>
                  </a:cubicBezTo>
                  <a:cubicBezTo>
                    <a:pt x="116" y="54"/>
                    <a:pt x="117" y="58"/>
                    <a:pt x="119" y="61"/>
                  </a:cubicBezTo>
                  <a:cubicBezTo>
                    <a:pt x="123" y="59"/>
                    <a:pt x="128" y="59"/>
                    <a:pt x="132" y="63"/>
                  </a:cubicBezTo>
                  <a:cubicBezTo>
                    <a:pt x="135" y="66"/>
                    <a:pt x="136" y="72"/>
                    <a:pt x="134" y="76"/>
                  </a:cubicBezTo>
                  <a:cubicBezTo>
                    <a:pt x="137" y="78"/>
                    <a:pt x="140" y="79"/>
                    <a:pt x="144" y="80"/>
                  </a:cubicBezTo>
                  <a:cubicBezTo>
                    <a:pt x="145" y="76"/>
                    <a:pt x="150" y="72"/>
                    <a:pt x="155" y="72"/>
                  </a:cubicBezTo>
                  <a:cubicBezTo>
                    <a:pt x="159" y="72"/>
                    <a:pt x="164" y="76"/>
                    <a:pt x="165" y="80"/>
                  </a:cubicBezTo>
                  <a:cubicBezTo>
                    <a:pt x="169" y="79"/>
                    <a:pt x="172" y="78"/>
                    <a:pt x="175" y="76"/>
                  </a:cubicBezTo>
                  <a:cubicBezTo>
                    <a:pt x="173" y="72"/>
                    <a:pt x="174" y="66"/>
                    <a:pt x="177" y="63"/>
                  </a:cubicBezTo>
                  <a:cubicBezTo>
                    <a:pt x="181" y="59"/>
                    <a:pt x="186" y="59"/>
                    <a:pt x="190" y="61"/>
                  </a:cubicBezTo>
                  <a:cubicBezTo>
                    <a:pt x="192" y="58"/>
                    <a:pt x="193" y="54"/>
                    <a:pt x="194" y="51"/>
                  </a:cubicBezTo>
                  <a:cubicBezTo>
                    <a:pt x="190" y="49"/>
                    <a:pt x="187" y="45"/>
                    <a:pt x="187" y="40"/>
                  </a:cubicBezTo>
                  <a:moveTo>
                    <a:pt x="155" y="57"/>
                  </a:moveTo>
                  <a:cubicBezTo>
                    <a:pt x="145" y="57"/>
                    <a:pt x="137" y="49"/>
                    <a:pt x="137" y="40"/>
                  </a:cubicBezTo>
                  <a:cubicBezTo>
                    <a:pt x="137" y="31"/>
                    <a:pt x="145" y="23"/>
                    <a:pt x="155" y="23"/>
                  </a:cubicBezTo>
                  <a:cubicBezTo>
                    <a:pt x="164" y="23"/>
                    <a:pt x="172" y="31"/>
                    <a:pt x="172" y="40"/>
                  </a:cubicBezTo>
                  <a:cubicBezTo>
                    <a:pt x="172" y="49"/>
                    <a:pt x="164" y="57"/>
                    <a:pt x="155" y="57"/>
                  </a:cubicBezTo>
                </a:path>
              </a:pathLst>
            </a:custGeom>
            <a:solidFill>
              <a:srgbClr val="7C7E8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89" name="Freeform 62">
              <a:extLst>
                <a:ext uri="{FF2B5EF4-FFF2-40B4-BE49-F238E27FC236}">
                  <a16:creationId xmlns:a16="http://schemas.microsoft.com/office/drawing/2014/main" id="{3E2F65E3-56EB-5525-3278-D87C4B2F5F19}"/>
                </a:ext>
              </a:extLst>
            </p:cNvPr>
            <p:cNvSpPr>
              <a:spLocks noEditPoints="1"/>
            </p:cNvSpPr>
            <p:nvPr/>
          </p:nvSpPr>
          <p:spPr bwMode="auto">
            <a:xfrm>
              <a:off x="7174645" y="5244888"/>
              <a:ext cx="345843" cy="365105"/>
            </a:xfrm>
            <a:custGeom>
              <a:avLst/>
              <a:gdLst>
                <a:gd name="T0" fmla="*/ 0 w 395"/>
                <a:gd name="T1" fmla="*/ 303 h 417"/>
                <a:gd name="T2" fmla="*/ 86 w 395"/>
                <a:gd name="T3" fmla="*/ 303 h 417"/>
                <a:gd name="T4" fmla="*/ 86 w 395"/>
                <a:gd name="T5" fmla="*/ 417 h 417"/>
                <a:gd name="T6" fmla="*/ 0 w 395"/>
                <a:gd name="T7" fmla="*/ 417 h 417"/>
                <a:gd name="T8" fmla="*/ 0 w 395"/>
                <a:gd name="T9" fmla="*/ 303 h 417"/>
                <a:gd name="T10" fmla="*/ 156 w 395"/>
                <a:gd name="T11" fmla="*/ 417 h 417"/>
                <a:gd name="T12" fmla="*/ 241 w 395"/>
                <a:gd name="T13" fmla="*/ 417 h 417"/>
                <a:gd name="T14" fmla="*/ 241 w 395"/>
                <a:gd name="T15" fmla="*/ 247 h 417"/>
                <a:gd name="T16" fmla="*/ 156 w 395"/>
                <a:gd name="T17" fmla="*/ 247 h 417"/>
                <a:gd name="T18" fmla="*/ 156 w 395"/>
                <a:gd name="T19" fmla="*/ 417 h 417"/>
                <a:gd name="T20" fmla="*/ 310 w 395"/>
                <a:gd name="T21" fmla="*/ 152 h 417"/>
                <a:gd name="T22" fmla="*/ 310 w 395"/>
                <a:gd name="T23" fmla="*/ 417 h 417"/>
                <a:gd name="T24" fmla="*/ 395 w 395"/>
                <a:gd name="T25" fmla="*/ 417 h 417"/>
                <a:gd name="T26" fmla="*/ 395 w 395"/>
                <a:gd name="T27" fmla="*/ 152 h 417"/>
                <a:gd name="T28" fmla="*/ 310 w 395"/>
                <a:gd name="T29" fmla="*/ 152 h 417"/>
                <a:gd name="T30" fmla="*/ 319 w 395"/>
                <a:gd name="T31" fmla="*/ 62 h 417"/>
                <a:gd name="T32" fmla="*/ 338 w 395"/>
                <a:gd name="T33" fmla="*/ 83 h 417"/>
                <a:gd name="T34" fmla="*/ 360 w 395"/>
                <a:gd name="T35" fmla="*/ 0 h 417"/>
                <a:gd name="T36" fmla="*/ 279 w 395"/>
                <a:gd name="T37" fmla="*/ 22 h 417"/>
                <a:gd name="T38" fmla="*/ 298 w 395"/>
                <a:gd name="T39" fmla="*/ 43 h 417"/>
                <a:gd name="T40" fmla="*/ 190 w 395"/>
                <a:gd name="T41" fmla="*/ 152 h 417"/>
                <a:gd name="T42" fmla="*/ 119 w 395"/>
                <a:gd name="T43" fmla="*/ 83 h 417"/>
                <a:gd name="T44" fmla="*/ 12 w 395"/>
                <a:gd name="T45" fmla="*/ 190 h 417"/>
                <a:gd name="T46" fmla="*/ 34 w 395"/>
                <a:gd name="T47" fmla="*/ 209 h 417"/>
                <a:gd name="T48" fmla="*/ 119 w 395"/>
                <a:gd name="T49" fmla="*/ 123 h 417"/>
                <a:gd name="T50" fmla="*/ 190 w 395"/>
                <a:gd name="T51" fmla="*/ 192 h 417"/>
                <a:gd name="T52" fmla="*/ 319 w 395"/>
                <a:gd name="T53" fmla="*/ 62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95" h="417">
                  <a:moveTo>
                    <a:pt x="0" y="303"/>
                  </a:moveTo>
                  <a:lnTo>
                    <a:pt x="86" y="303"/>
                  </a:lnTo>
                  <a:lnTo>
                    <a:pt x="86" y="417"/>
                  </a:lnTo>
                  <a:lnTo>
                    <a:pt x="0" y="417"/>
                  </a:lnTo>
                  <a:lnTo>
                    <a:pt x="0" y="303"/>
                  </a:lnTo>
                  <a:close/>
                  <a:moveTo>
                    <a:pt x="156" y="417"/>
                  </a:moveTo>
                  <a:lnTo>
                    <a:pt x="241" y="417"/>
                  </a:lnTo>
                  <a:lnTo>
                    <a:pt x="241" y="247"/>
                  </a:lnTo>
                  <a:lnTo>
                    <a:pt x="156" y="247"/>
                  </a:lnTo>
                  <a:lnTo>
                    <a:pt x="156" y="417"/>
                  </a:lnTo>
                  <a:close/>
                  <a:moveTo>
                    <a:pt x="310" y="152"/>
                  </a:moveTo>
                  <a:lnTo>
                    <a:pt x="310" y="417"/>
                  </a:lnTo>
                  <a:lnTo>
                    <a:pt x="395" y="417"/>
                  </a:lnTo>
                  <a:lnTo>
                    <a:pt x="395" y="152"/>
                  </a:lnTo>
                  <a:lnTo>
                    <a:pt x="310" y="152"/>
                  </a:lnTo>
                  <a:close/>
                  <a:moveTo>
                    <a:pt x="319" y="62"/>
                  </a:moveTo>
                  <a:lnTo>
                    <a:pt x="338" y="83"/>
                  </a:lnTo>
                  <a:lnTo>
                    <a:pt x="360" y="0"/>
                  </a:lnTo>
                  <a:lnTo>
                    <a:pt x="279" y="22"/>
                  </a:lnTo>
                  <a:lnTo>
                    <a:pt x="298" y="43"/>
                  </a:lnTo>
                  <a:lnTo>
                    <a:pt x="190" y="152"/>
                  </a:lnTo>
                  <a:lnTo>
                    <a:pt x="119" y="83"/>
                  </a:lnTo>
                  <a:lnTo>
                    <a:pt x="12" y="190"/>
                  </a:lnTo>
                  <a:lnTo>
                    <a:pt x="34" y="209"/>
                  </a:lnTo>
                  <a:lnTo>
                    <a:pt x="119" y="123"/>
                  </a:lnTo>
                  <a:lnTo>
                    <a:pt x="190" y="192"/>
                  </a:lnTo>
                  <a:lnTo>
                    <a:pt x="319" y="62"/>
                  </a:lnTo>
                  <a:close/>
                </a:path>
              </a:pathLst>
            </a:custGeom>
            <a:solidFill>
              <a:srgbClr val="62588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0" name="TextBox 89">
              <a:extLst>
                <a:ext uri="{FF2B5EF4-FFF2-40B4-BE49-F238E27FC236}">
                  <a16:creationId xmlns:a16="http://schemas.microsoft.com/office/drawing/2014/main" id="{27DCD22B-DFE3-BEFF-A1CD-25B42E14EC84}"/>
                </a:ext>
              </a:extLst>
            </p:cNvPr>
            <p:cNvSpPr txBox="1"/>
            <p:nvPr/>
          </p:nvSpPr>
          <p:spPr>
            <a:xfrm>
              <a:off x="5573816" y="3047204"/>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C7E80"/>
                  </a:solidFill>
                  <a:effectLst/>
                  <a:uLnTx/>
                  <a:uFillTx/>
                  <a:latin typeface="Calibri"/>
                  <a:ea typeface="+mn-ea"/>
                  <a:cs typeface="+mn-cs"/>
                </a:rPr>
                <a:t>EXECUTION</a:t>
              </a:r>
            </a:p>
          </p:txBody>
        </p:sp>
        <p:sp>
          <p:nvSpPr>
            <p:cNvPr id="91" name="TextBox 90">
              <a:extLst>
                <a:ext uri="{FF2B5EF4-FFF2-40B4-BE49-F238E27FC236}">
                  <a16:creationId xmlns:a16="http://schemas.microsoft.com/office/drawing/2014/main" id="{4E78C206-72C3-EE90-ABFC-F9BB6C08D123}"/>
                </a:ext>
              </a:extLst>
            </p:cNvPr>
            <p:cNvSpPr txBox="1"/>
            <p:nvPr/>
          </p:nvSpPr>
          <p:spPr>
            <a:xfrm>
              <a:off x="3136606" y="3056729"/>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INITIATION</a:t>
              </a:r>
            </a:p>
          </p:txBody>
        </p:sp>
        <p:sp>
          <p:nvSpPr>
            <p:cNvPr id="92" name="Freeform 64">
              <a:extLst>
                <a:ext uri="{FF2B5EF4-FFF2-40B4-BE49-F238E27FC236}">
                  <a16:creationId xmlns:a16="http://schemas.microsoft.com/office/drawing/2014/main" id="{73599444-762D-FDCC-3486-151FC4041465}"/>
                </a:ext>
              </a:extLst>
            </p:cNvPr>
            <p:cNvSpPr>
              <a:spLocks noEditPoints="1"/>
            </p:cNvSpPr>
            <p:nvPr/>
          </p:nvSpPr>
          <p:spPr bwMode="auto">
            <a:xfrm>
              <a:off x="4681036" y="5228253"/>
              <a:ext cx="418514" cy="398376"/>
            </a:xfrm>
            <a:custGeom>
              <a:avLst/>
              <a:gdLst>
                <a:gd name="T0" fmla="*/ 43 w 202"/>
                <a:gd name="T1" fmla="*/ 118 h 192"/>
                <a:gd name="T2" fmla="*/ 29 w 202"/>
                <a:gd name="T3" fmla="*/ 88 h 192"/>
                <a:gd name="T4" fmla="*/ 69 w 202"/>
                <a:gd name="T5" fmla="*/ 77 h 192"/>
                <a:gd name="T6" fmla="*/ 49 w 202"/>
                <a:gd name="T7" fmla="*/ 145 h 192"/>
                <a:gd name="T8" fmla="*/ 49 w 202"/>
                <a:gd name="T9" fmla="*/ 47 h 192"/>
                <a:gd name="T10" fmla="*/ 49 w 202"/>
                <a:gd name="T11" fmla="*/ 145 h 192"/>
                <a:gd name="T12" fmla="*/ 86 w 202"/>
                <a:gd name="T13" fmla="*/ 96 h 192"/>
                <a:gd name="T14" fmla="*/ 12 w 202"/>
                <a:gd name="T15" fmla="*/ 96 h 192"/>
                <a:gd name="T16" fmla="*/ 177 w 202"/>
                <a:gd name="T17" fmla="*/ 76 h 192"/>
                <a:gd name="T18" fmla="*/ 102 w 202"/>
                <a:gd name="T19" fmla="*/ 84 h 192"/>
                <a:gd name="T20" fmla="*/ 177 w 202"/>
                <a:gd name="T21" fmla="*/ 76 h 192"/>
                <a:gd name="T22" fmla="*/ 94 w 202"/>
                <a:gd name="T23" fmla="*/ 51 h 192"/>
                <a:gd name="T24" fmla="*/ 153 w 202"/>
                <a:gd name="T25" fmla="*/ 59 h 192"/>
                <a:gd name="T26" fmla="*/ 202 w 202"/>
                <a:gd name="T27" fmla="*/ 49 h 192"/>
                <a:gd name="T28" fmla="*/ 192 w 202"/>
                <a:gd name="T29" fmla="*/ 192 h 192"/>
                <a:gd name="T30" fmla="*/ 45 w 202"/>
                <a:gd name="T31" fmla="*/ 182 h 192"/>
                <a:gd name="T32" fmla="*/ 49 w 202"/>
                <a:gd name="T33" fmla="*/ 151 h 192"/>
                <a:gd name="T34" fmla="*/ 57 w 202"/>
                <a:gd name="T35" fmla="*/ 180 h 192"/>
                <a:gd name="T36" fmla="*/ 190 w 202"/>
                <a:gd name="T37" fmla="*/ 55 h 192"/>
                <a:gd name="T38" fmla="*/ 147 w 202"/>
                <a:gd name="T39" fmla="*/ 39 h 192"/>
                <a:gd name="T40" fmla="*/ 57 w 202"/>
                <a:gd name="T41" fmla="*/ 12 h 192"/>
                <a:gd name="T42" fmla="*/ 49 w 202"/>
                <a:gd name="T43" fmla="*/ 41 h 192"/>
                <a:gd name="T44" fmla="*/ 45 w 202"/>
                <a:gd name="T45" fmla="*/ 10 h 192"/>
                <a:gd name="T46" fmla="*/ 153 w 202"/>
                <a:gd name="T47" fmla="*/ 0 h 192"/>
                <a:gd name="T48" fmla="*/ 157 w 202"/>
                <a:gd name="T49" fmla="*/ 1 h 192"/>
                <a:gd name="T50" fmla="*/ 202 w 202"/>
                <a:gd name="T51" fmla="*/ 49 h 192"/>
                <a:gd name="T52" fmla="*/ 182 w 202"/>
                <a:gd name="T53" fmla="*/ 43 h 192"/>
                <a:gd name="T54" fmla="*/ 159 w 202"/>
                <a:gd name="T55" fmla="*/ 39 h 192"/>
                <a:gd name="T56" fmla="*/ 182 w 202"/>
                <a:gd name="T57" fmla="*/ 43 h 192"/>
                <a:gd name="T58" fmla="*/ 137 w 202"/>
                <a:gd name="T59" fmla="*/ 158 h 192"/>
                <a:gd name="T60" fmla="*/ 70 w 202"/>
                <a:gd name="T61" fmla="*/ 150 h 192"/>
                <a:gd name="T62" fmla="*/ 177 w 202"/>
                <a:gd name="T63" fmla="*/ 101 h 192"/>
                <a:gd name="T64" fmla="*/ 102 w 202"/>
                <a:gd name="T65" fmla="*/ 109 h 192"/>
                <a:gd name="T66" fmla="*/ 177 w 202"/>
                <a:gd name="T67" fmla="*/ 101 h 192"/>
                <a:gd name="T68" fmla="*/ 95 w 202"/>
                <a:gd name="T69" fmla="*/ 125 h 192"/>
                <a:gd name="T70" fmla="*/ 177 w 202"/>
                <a:gd name="T71" fmla="*/ 13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2" h="192">
                  <a:moveTo>
                    <a:pt x="78" y="87"/>
                  </a:moveTo>
                  <a:cubicBezTo>
                    <a:pt x="43" y="118"/>
                    <a:pt x="43" y="118"/>
                    <a:pt x="43" y="118"/>
                  </a:cubicBezTo>
                  <a:cubicBezTo>
                    <a:pt x="20" y="99"/>
                    <a:pt x="20" y="99"/>
                    <a:pt x="20" y="99"/>
                  </a:cubicBezTo>
                  <a:cubicBezTo>
                    <a:pt x="29" y="88"/>
                    <a:pt x="29" y="88"/>
                    <a:pt x="29" y="88"/>
                  </a:cubicBezTo>
                  <a:cubicBezTo>
                    <a:pt x="43" y="100"/>
                    <a:pt x="43" y="100"/>
                    <a:pt x="43" y="100"/>
                  </a:cubicBezTo>
                  <a:cubicBezTo>
                    <a:pt x="69" y="77"/>
                    <a:pt x="69" y="77"/>
                    <a:pt x="69" y="77"/>
                  </a:cubicBezTo>
                  <a:lnTo>
                    <a:pt x="78" y="87"/>
                  </a:lnTo>
                  <a:close/>
                  <a:moveTo>
                    <a:pt x="49" y="145"/>
                  </a:moveTo>
                  <a:cubicBezTo>
                    <a:pt x="22" y="145"/>
                    <a:pt x="0" y="123"/>
                    <a:pt x="0" y="96"/>
                  </a:cubicBezTo>
                  <a:cubicBezTo>
                    <a:pt x="0" y="69"/>
                    <a:pt x="22" y="47"/>
                    <a:pt x="49" y="47"/>
                  </a:cubicBezTo>
                  <a:cubicBezTo>
                    <a:pt x="76" y="47"/>
                    <a:pt x="98" y="69"/>
                    <a:pt x="98" y="96"/>
                  </a:cubicBezTo>
                  <a:cubicBezTo>
                    <a:pt x="98" y="123"/>
                    <a:pt x="76" y="145"/>
                    <a:pt x="49" y="145"/>
                  </a:cubicBezTo>
                  <a:moveTo>
                    <a:pt x="49" y="133"/>
                  </a:moveTo>
                  <a:cubicBezTo>
                    <a:pt x="69" y="133"/>
                    <a:pt x="86" y="116"/>
                    <a:pt x="86" y="96"/>
                  </a:cubicBezTo>
                  <a:cubicBezTo>
                    <a:pt x="86" y="76"/>
                    <a:pt x="69" y="59"/>
                    <a:pt x="49" y="59"/>
                  </a:cubicBezTo>
                  <a:cubicBezTo>
                    <a:pt x="29" y="59"/>
                    <a:pt x="12" y="76"/>
                    <a:pt x="12" y="96"/>
                  </a:cubicBezTo>
                  <a:cubicBezTo>
                    <a:pt x="12" y="116"/>
                    <a:pt x="29" y="133"/>
                    <a:pt x="49" y="133"/>
                  </a:cubicBezTo>
                  <a:moveTo>
                    <a:pt x="177" y="76"/>
                  </a:moveTo>
                  <a:cubicBezTo>
                    <a:pt x="100" y="76"/>
                    <a:pt x="100" y="76"/>
                    <a:pt x="100" y="76"/>
                  </a:cubicBezTo>
                  <a:cubicBezTo>
                    <a:pt x="101" y="79"/>
                    <a:pt x="102" y="81"/>
                    <a:pt x="102" y="84"/>
                  </a:cubicBezTo>
                  <a:cubicBezTo>
                    <a:pt x="177" y="84"/>
                    <a:pt x="177" y="84"/>
                    <a:pt x="177" y="84"/>
                  </a:cubicBezTo>
                  <a:lnTo>
                    <a:pt x="177" y="76"/>
                  </a:lnTo>
                  <a:close/>
                  <a:moveTo>
                    <a:pt x="144" y="51"/>
                  </a:moveTo>
                  <a:cubicBezTo>
                    <a:pt x="94" y="51"/>
                    <a:pt x="94" y="51"/>
                    <a:pt x="94" y="51"/>
                  </a:cubicBezTo>
                  <a:cubicBezTo>
                    <a:pt x="94" y="59"/>
                    <a:pt x="94" y="59"/>
                    <a:pt x="94" y="59"/>
                  </a:cubicBezTo>
                  <a:cubicBezTo>
                    <a:pt x="153" y="59"/>
                    <a:pt x="153" y="59"/>
                    <a:pt x="153" y="59"/>
                  </a:cubicBezTo>
                  <a:cubicBezTo>
                    <a:pt x="150" y="58"/>
                    <a:pt x="147" y="55"/>
                    <a:pt x="144" y="51"/>
                  </a:cubicBezTo>
                  <a:moveTo>
                    <a:pt x="202" y="49"/>
                  </a:moveTo>
                  <a:cubicBezTo>
                    <a:pt x="202" y="182"/>
                    <a:pt x="202" y="182"/>
                    <a:pt x="202" y="182"/>
                  </a:cubicBezTo>
                  <a:cubicBezTo>
                    <a:pt x="202" y="188"/>
                    <a:pt x="198" y="192"/>
                    <a:pt x="192" y="192"/>
                  </a:cubicBezTo>
                  <a:cubicBezTo>
                    <a:pt x="55" y="192"/>
                    <a:pt x="55" y="192"/>
                    <a:pt x="55" y="192"/>
                  </a:cubicBezTo>
                  <a:cubicBezTo>
                    <a:pt x="49" y="192"/>
                    <a:pt x="45" y="188"/>
                    <a:pt x="45" y="182"/>
                  </a:cubicBezTo>
                  <a:cubicBezTo>
                    <a:pt x="45" y="151"/>
                    <a:pt x="45" y="151"/>
                    <a:pt x="45" y="151"/>
                  </a:cubicBezTo>
                  <a:cubicBezTo>
                    <a:pt x="46" y="151"/>
                    <a:pt x="48" y="151"/>
                    <a:pt x="49" y="151"/>
                  </a:cubicBezTo>
                  <a:cubicBezTo>
                    <a:pt x="52" y="151"/>
                    <a:pt x="54" y="150"/>
                    <a:pt x="57" y="150"/>
                  </a:cubicBezTo>
                  <a:cubicBezTo>
                    <a:pt x="57" y="180"/>
                    <a:pt x="57" y="180"/>
                    <a:pt x="57" y="180"/>
                  </a:cubicBezTo>
                  <a:cubicBezTo>
                    <a:pt x="190" y="180"/>
                    <a:pt x="190" y="180"/>
                    <a:pt x="190" y="180"/>
                  </a:cubicBezTo>
                  <a:cubicBezTo>
                    <a:pt x="190" y="55"/>
                    <a:pt x="190" y="55"/>
                    <a:pt x="190" y="55"/>
                  </a:cubicBezTo>
                  <a:cubicBezTo>
                    <a:pt x="163" y="55"/>
                    <a:pt x="163" y="55"/>
                    <a:pt x="163" y="55"/>
                  </a:cubicBezTo>
                  <a:cubicBezTo>
                    <a:pt x="154" y="55"/>
                    <a:pt x="147" y="48"/>
                    <a:pt x="147" y="39"/>
                  </a:cubicBezTo>
                  <a:cubicBezTo>
                    <a:pt x="147" y="12"/>
                    <a:pt x="147" y="12"/>
                    <a:pt x="147" y="12"/>
                  </a:cubicBezTo>
                  <a:cubicBezTo>
                    <a:pt x="57" y="12"/>
                    <a:pt x="57" y="12"/>
                    <a:pt x="57" y="12"/>
                  </a:cubicBezTo>
                  <a:cubicBezTo>
                    <a:pt x="57" y="42"/>
                    <a:pt x="57" y="42"/>
                    <a:pt x="57" y="42"/>
                  </a:cubicBezTo>
                  <a:cubicBezTo>
                    <a:pt x="54" y="42"/>
                    <a:pt x="52" y="41"/>
                    <a:pt x="49" y="41"/>
                  </a:cubicBezTo>
                  <a:cubicBezTo>
                    <a:pt x="48" y="41"/>
                    <a:pt x="46" y="41"/>
                    <a:pt x="45" y="42"/>
                  </a:cubicBezTo>
                  <a:cubicBezTo>
                    <a:pt x="45" y="10"/>
                    <a:pt x="45" y="10"/>
                    <a:pt x="45" y="10"/>
                  </a:cubicBezTo>
                  <a:cubicBezTo>
                    <a:pt x="45" y="4"/>
                    <a:pt x="49" y="0"/>
                    <a:pt x="55" y="0"/>
                  </a:cubicBezTo>
                  <a:cubicBezTo>
                    <a:pt x="153" y="0"/>
                    <a:pt x="153" y="0"/>
                    <a:pt x="153" y="0"/>
                  </a:cubicBezTo>
                  <a:cubicBezTo>
                    <a:pt x="153" y="0"/>
                    <a:pt x="153" y="0"/>
                    <a:pt x="153" y="0"/>
                  </a:cubicBezTo>
                  <a:cubicBezTo>
                    <a:pt x="155" y="0"/>
                    <a:pt x="156" y="0"/>
                    <a:pt x="157" y="1"/>
                  </a:cubicBezTo>
                  <a:cubicBezTo>
                    <a:pt x="200" y="44"/>
                    <a:pt x="200" y="44"/>
                    <a:pt x="200" y="44"/>
                  </a:cubicBezTo>
                  <a:cubicBezTo>
                    <a:pt x="202" y="46"/>
                    <a:pt x="202" y="46"/>
                    <a:pt x="202" y="49"/>
                  </a:cubicBezTo>
                  <a:cubicBezTo>
                    <a:pt x="202" y="49"/>
                    <a:pt x="202" y="49"/>
                    <a:pt x="202" y="49"/>
                  </a:cubicBezTo>
                  <a:moveTo>
                    <a:pt x="182" y="43"/>
                  </a:moveTo>
                  <a:cubicBezTo>
                    <a:pt x="159" y="20"/>
                    <a:pt x="159" y="20"/>
                    <a:pt x="159" y="20"/>
                  </a:cubicBezTo>
                  <a:cubicBezTo>
                    <a:pt x="159" y="39"/>
                    <a:pt x="159" y="39"/>
                    <a:pt x="159" y="39"/>
                  </a:cubicBezTo>
                  <a:cubicBezTo>
                    <a:pt x="159" y="42"/>
                    <a:pt x="161" y="43"/>
                    <a:pt x="163" y="43"/>
                  </a:cubicBezTo>
                  <a:lnTo>
                    <a:pt x="182" y="43"/>
                  </a:lnTo>
                  <a:close/>
                  <a:moveTo>
                    <a:pt x="70" y="158"/>
                  </a:moveTo>
                  <a:cubicBezTo>
                    <a:pt x="137" y="158"/>
                    <a:pt x="137" y="158"/>
                    <a:pt x="137" y="158"/>
                  </a:cubicBezTo>
                  <a:cubicBezTo>
                    <a:pt x="137" y="150"/>
                    <a:pt x="137" y="150"/>
                    <a:pt x="137" y="150"/>
                  </a:cubicBezTo>
                  <a:cubicBezTo>
                    <a:pt x="70" y="150"/>
                    <a:pt x="70" y="150"/>
                    <a:pt x="70" y="150"/>
                  </a:cubicBezTo>
                  <a:lnTo>
                    <a:pt x="70" y="158"/>
                  </a:lnTo>
                  <a:close/>
                  <a:moveTo>
                    <a:pt x="177" y="101"/>
                  </a:moveTo>
                  <a:cubicBezTo>
                    <a:pt x="103" y="101"/>
                    <a:pt x="103" y="101"/>
                    <a:pt x="103" y="101"/>
                  </a:cubicBezTo>
                  <a:cubicBezTo>
                    <a:pt x="103" y="103"/>
                    <a:pt x="103" y="106"/>
                    <a:pt x="102" y="109"/>
                  </a:cubicBezTo>
                  <a:cubicBezTo>
                    <a:pt x="177" y="109"/>
                    <a:pt x="177" y="109"/>
                    <a:pt x="177" y="109"/>
                  </a:cubicBezTo>
                  <a:lnTo>
                    <a:pt x="177" y="101"/>
                  </a:lnTo>
                  <a:close/>
                  <a:moveTo>
                    <a:pt x="177" y="125"/>
                  </a:moveTo>
                  <a:cubicBezTo>
                    <a:pt x="95" y="125"/>
                    <a:pt x="95" y="125"/>
                    <a:pt x="95" y="125"/>
                  </a:cubicBezTo>
                  <a:cubicBezTo>
                    <a:pt x="93" y="128"/>
                    <a:pt x="91" y="131"/>
                    <a:pt x="89" y="133"/>
                  </a:cubicBezTo>
                  <a:cubicBezTo>
                    <a:pt x="177" y="133"/>
                    <a:pt x="177" y="133"/>
                    <a:pt x="177" y="133"/>
                  </a:cubicBezTo>
                  <a:lnTo>
                    <a:pt x="177" y="125"/>
                  </a:lnTo>
                  <a:close/>
                </a:path>
              </a:pathLst>
            </a:custGeom>
            <a:solidFill>
              <a:srgbClr val="30384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3" name="TextBox 92">
              <a:extLst>
                <a:ext uri="{FF2B5EF4-FFF2-40B4-BE49-F238E27FC236}">
                  <a16:creationId xmlns:a16="http://schemas.microsoft.com/office/drawing/2014/main" id="{FC0246BD-C7FB-2EEC-348C-3761A8D9FA30}"/>
                </a:ext>
              </a:extLst>
            </p:cNvPr>
            <p:cNvSpPr txBox="1"/>
            <p:nvPr/>
          </p:nvSpPr>
          <p:spPr>
            <a:xfrm>
              <a:off x="3930132" y="5895554"/>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03841"/>
                  </a:solidFill>
                  <a:effectLst/>
                  <a:uLnTx/>
                  <a:uFillTx/>
                  <a:latin typeface="Calibri"/>
                  <a:ea typeface="+mn-ea"/>
                  <a:cs typeface="+mn-cs"/>
                </a:rPr>
                <a:t>PLANNING</a:t>
              </a:r>
            </a:p>
          </p:txBody>
        </p:sp>
        <p:sp>
          <p:nvSpPr>
            <p:cNvPr id="95" name="Freeform: Shape 76">
              <a:extLst>
                <a:ext uri="{FF2B5EF4-FFF2-40B4-BE49-F238E27FC236}">
                  <a16:creationId xmlns:a16="http://schemas.microsoft.com/office/drawing/2014/main" id="{3C785E0F-9527-02FA-F99A-1A084D7F46F5}"/>
                </a:ext>
              </a:extLst>
            </p:cNvPr>
            <p:cNvSpPr>
              <a:spLocks noChangeAspect="1"/>
            </p:cNvSpPr>
            <p:nvPr/>
          </p:nvSpPr>
          <p:spPr>
            <a:xfrm>
              <a:off x="3477183" y="3612894"/>
              <a:ext cx="390410" cy="388135"/>
            </a:xfrm>
            <a:custGeom>
              <a:avLst/>
              <a:gdLst>
                <a:gd name="connsiteX0" fmla="*/ 95821 w 4876773"/>
                <a:gd name="connsiteY0" fmla="*/ 4656712 h 4848355"/>
                <a:gd name="connsiteX1" fmla="*/ 191643 w 4876773"/>
                <a:gd name="connsiteY1" fmla="*/ 4752533 h 4848355"/>
                <a:gd name="connsiteX2" fmla="*/ 95821 w 4876773"/>
                <a:gd name="connsiteY2" fmla="*/ 4848355 h 4848355"/>
                <a:gd name="connsiteX3" fmla="*/ 0 w 4876773"/>
                <a:gd name="connsiteY3" fmla="*/ 4752533 h 4848355"/>
                <a:gd name="connsiteX4" fmla="*/ 95821 w 4876773"/>
                <a:gd name="connsiteY4" fmla="*/ 4656712 h 4848355"/>
                <a:gd name="connsiteX5" fmla="*/ 862291 w 4876773"/>
                <a:gd name="connsiteY5" fmla="*/ 3611335 h 4848355"/>
                <a:gd name="connsiteX6" fmla="*/ 953844 w 4876773"/>
                <a:gd name="connsiteY6" fmla="*/ 3664178 h 4848355"/>
                <a:gd name="connsiteX7" fmla="*/ 910867 w 4876773"/>
                <a:gd name="connsiteY7" fmla="*/ 3792404 h 4848355"/>
                <a:gd name="connsiteX8" fmla="*/ 682133 w 4876773"/>
                <a:gd name="connsiteY8" fmla="*/ 3906304 h 4848355"/>
                <a:gd name="connsiteX9" fmla="*/ 508597 w 4876773"/>
                <a:gd name="connsiteY9" fmla="*/ 4166298 h 4848355"/>
                <a:gd name="connsiteX10" fmla="*/ 499530 w 4876773"/>
                <a:gd name="connsiteY10" fmla="*/ 4298762 h 4848355"/>
                <a:gd name="connsiteX11" fmla="*/ 515998 w 4876773"/>
                <a:gd name="connsiteY11" fmla="*/ 4342701 h 4848355"/>
                <a:gd name="connsiteX12" fmla="*/ 559928 w 4876773"/>
                <a:gd name="connsiteY12" fmla="*/ 4359170 h 4848355"/>
                <a:gd name="connsiteX13" fmla="*/ 692401 w 4876773"/>
                <a:gd name="connsiteY13" fmla="*/ 4350102 h 4848355"/>
                <a:gd name="connsiteX14" fmla="*/ 952396 w 4876773"/>
                <a:gd name="connsiteY14" fmla="*/ 4176566 h 4848355"/>
                <a:gd name="connsiteX15" fmla="*/ 1066296 w 4876773"/>
                <a:gd name="connsiteY15" fmla="*/ 3947823 h 4848355"/>
                <a:gd name="connsiteX16" fmla="*/ 1194521 w 4876773"/>
                <a:gd name="connsiteY16" fmla="*/ 3904847 h 4848355"/>
                <a:gd name="connsiteX17" fmla="*/ 1237488 w 4876773"/>
                <a:gd name="connsiteY17" fmla="*/ 4033072 h 4848355"/>
                <a:gd name="connsiteX18" fmla="*/ 1123589 w 4876773"/>
                <a:gd name="connsiteY18" fmla="*/ 4261805 h 4848355"/>
                <a:gd name="connsiteX19" fmla="*/ 705460 w 4876773"/>
                <a:gd name="connsiteY19" fmla="*/ 4540907 h 4848355"/>
                <a:gd name="connsiteX20" fmla="*/ 572986 w 4876773"/>
                <a:gd name="connsiteY20" fmla="*/ 4549975 h 4848355"/>
                <a:gd name="connsiteX21" fmla="*/ 556032 w 4876773"/>
                <a:gd name="connsiteY21" fmla="*/ 4550556 h 4848355"/>
                <a:gd name="connsiteX22" fmla="*/ 380743 w 4876773"/>
                <a:gd name="connsiteY22" fmla="*/ 4477937 h 4848355"/>
                <a:gd name="connsiteX23" fmla="*/ 308715 w 4876773"/>
                <a:gd name="connsiteY23" fmla="*/ 4285694 h 4848355"/>
                <a:gd name="connsiteX24" fmla="*/ 317783 w 4876773"/>
                <a:gd name="connsiteY24" fmla="*/ 4153230 h 4848355"/>
                <a:gd name="connsiteX25" fmla="*/ 596885 w 4876773"/>
                <a:gd name="connsiteY25" fmla="*/ 3735101 h 4848355"/>
                <a:gd name="connsiteX26" fmla="*/ 825618 w 4876773"/>
                <a:gd name="connsiteY26" fmla="*/ 3621201 h 4848355"/>
                <a:gd name="connsiteX27" fmla="*/ 862291 w 4876773"/>
                <a:gd name="connsiteY27" fmla="*/ 3611335 h 4848355"/>
                <a:gd name="connsiteX28" fmla="*/ 1391803 w 4876773"/>
                <a:gd name="connsiteY28" fmla="*/ 2999590 h 4848355"/>
                <a:gd name="connsiteX29" fmla="*/ 1185339 w 4876773"/>
                <a:gd name="connsiteY29" fmla="*/ 3244697 h 4848355"/>
                <a:gd name="connsiteX30" fmla="*/ 1363809 w 4876773"/>
                <a:gd name="connsiteY30" fmla="*/ 3485299 h 4848355"/>
                <a:gd name="connsiteX31" fmla="*/ 1611383 w 4876773"/>
                <a:gd name="connsiteY31" fmla="*/ 3670350 h 4848355"/>
                <a:gd name="connsiteX32" fmla="*/ 1759973 w 4876773"/>
                <a:gd name="connsiteY32" fmla="*/ 3546935 h 4848355"/>
                <a:gd name="connsiteX33" fmla="*/ 1859976 w 4876773"/>
                <a:gd name="connsiteY33" fmla="*/ 3463629 h 4848355"/>
                <a:gd name="connsiteX34" fmla="*/ 1596695 w 4876773"/>
                <a:gd name="connsiteY34" fmla="*/ 3237306 h 4848355"/>
                <a:gd name="connsiteX35" fmla="*/ 1596609 w 4876773"/>
                <a:gd name="connsiteY35" fmla="*/ 3237229 h 4848355"/>
                <a:gd name="connsiteX36" fmla="*/ 1596552 w 4876773"/>
                <a:gd name="connsiteY36" fmla="*/ 3237163 h 4848355"/>
                <a:gd name="connsiteX37" fmla="*/ 1596381 w 4876773"/>
                <a:gd name="connsiteY37" fmla="*/ 3237001 h 4848355"/>
                <a:gd name="connsiteX38" fmla="*/ 1391803 w 4876773"/>
                <a:gd name="connsiteY38" fmla="*/ 2999590 h 4848355"/>
                <a:gd name="connsiteX39" fmla="*/ 3351600 w 4876773"/>
                <a:gd name="connsiteY39" fmla="*/ 2731461 h 4848355"/>
                <a:gd name="connsiteX40" fmla="*/ 2463785 w 4876773"/>
                <a:gd name="connsiteY40" fmla="*/ 3420405 h 4848355"/>
                <a:gd name="connsiteX41" fmla="*/ 2520954 w 4876773"/>
                <a:gd name="connsiteY41" fmla="*/ 4532848 h 4848355"/>
                <a:gd name="connsiteX42" fmla="*/ 2930643 w 4876773"/>
                <a:gd name="connsiteY42" fmla="*/ 4123159 h 4848355"/>
                <a:gd name="connsiteX43" fmla="*/ 3351610 w 4876773"/>
                <a:gd name="connsiteY43" fmla="*/ 3106861 h 4848355"/>
                <a:gd name="connsiteX44" fmla="*/ 3351600 w 4876773"/>
                <a:gd name="connsiteY44" fmla="*/ 3106861 h 4848355"/>
                <a:gd name="connsiteX45" fmla="*/ 2543223 w 4876773"/>
                <a:gd name="connsiteY45" fmla="*/ 2226713 h 4848355"/>
                <a:gd name="connsiteX46" fmla="*/ 2638854 w 4876773"/>
                <a:gd name="connsiteY46" fmla="*/ 2322344 h 4848355"/>
                <a:gd name="connsiteX47" fmla="*/ 2543223 w 4876773"/>
                <a:gd name="connsiteY47" fmla="*/ 2417975 h 4848355"/>
                <a:gd name="connsiteX48" fmla="*/ 2447592 w 4876773"/>
                <a:gd name="connsiteY48" fmla="*/ 2322344 h 4848355"/>
                <a:gd name="connsiteX49" fmla="*/ 2543223 w 4876773"/>
                <a:gd name="connsiteY49" fmla="*/ 2226713 h 4848355"/>
                <a:gd name="connsiteX50" fmla="*/ 1740104 w 4876773"/>
                <a:gd name="connsiteY50" fmla="*/ 1496583 h 4848355"/>
                <a:gd name="connsiteX51" fmla="*/ 725186 w 4876773"/>
                <a:gd name="connsiteY51" fmla="*/ 1917550 h 4848355"/>
                <a:gd name="connsiteX52" fmla="*/ 315497 w 4876773"/>
                <a:gd name="connsiteY52" fmla="*/ 2327239 h 4848355"/>
                <a:gd name="connsiteX53" fmla="*/ 1429350 w 4876773"/>
                <a:gd name="connsiteY53" fmla="*/ 2384466 h 4848355"/>
                <a:gd name="connsiteX54" fmla="*/ 2140963 w 4876773"/>
                <a:gd name="connsiteY54" fmla="*/ 1508356 h 4848355"/>
                <a:gd name="connsiteX55" fmla="*/ 3507705 w 4876773"/>
                <a:gd name="connsiteY55" fmla="*/ 1182068 h 4848355"/>
                <a:gd name="connsiteX56" fmla="*/ 3355134 w 4876773"/>
                <a:gd name="connsiteY56" fmla="*/ 1245266 h 4848355"/>
                <a:gd name="connsiteX57" fmla="*/ 3355134 w 4876773"/>
                <a:gd name="connsiteY57" fmla="*/ 1550419 h 4848355"/>
                <a:gd name="connsiteX58" fmla="*/ 3660286 w 4876773"/>
                <a:gd name="connsiteY58" fmla="*/ 1550419 h 4848355"/>
                <a:gd name="connsiteX59" fmla="*/ 3660277 w 4876773"/>
                <a:gd name="connsiteY59" fmla="*/ 1245266 h 4848355"/>
                <a:gd name="connsiteX60" fmla="*/ 3507705 w 4876773"/>
                <a:gd name="connsiteY60" fmla="*/ 1182068 h 4848355"/>
                <a:gd name="connsiteX61" fmla="*/ 3507705 w 4876773"/>
                <a:gd name="connsiteY61" fmla="*/ 990825 h 4848355"/>
                <a:gd name="connsiteX62" fmla="*/ 3795513 w 4876773"/>
                <a:gd name="connsiteY62" fmla="*/ 1110040 h 4848355"/>
                <a:gd name="connsiteX63" fmla="*/ 3795513 w 4876773"/>
                <a:gd name="connsiteY63" fmla="*/ 1685664 h 4848355"/>
                <a:gd name="connsiteX64" fmla="*/ 3507705 w 4876773"/>
                <a:gd name="connsiteY64" fmla="*/ 1804679 h 4848355"/>
                <a:gd name="connsiteX65" fmla="*/ 3219898 w 4876773"/>
                <a:gd name="connsiteY65" fmla="*/ 1685664 h 4848355"/>
                <a:gd name="connsiteX66" fmla="*/ 3219898 w 4876773"/>
                <a:gd name="connsiteY66" fmla="*/ 1110040 h 4848355"/>
                <a:gd name="connsiteX67" fmla="*/ 3507705 w 4876773"/>
                <a:gd name="connsiteY67" fmla="*/ 990825 h 4848355"/>
                <a:gd name="connsiteX68" fmla="*/ 4653487 w 4876773"/>
                <a:gd name="connsiteY68" fmla="*/ 191344 h 4848355"/>
                <a:gd name="connsiteX69" fmla="*/ 4564447 w 4876773"/>
                <a:gd name="connsiteY69" fmla="*/ 197021 h 4848355"/>
                <a:gd name="connsiteX70" fmla="*/ 2650808 w 4876773"/>
                <a:gd name="connsiteY70" fmla="*/ 1184030 h 4848355"/>
                <a:gd name="connsiteX71" fmla="*/ 1421073 w 4876773"/>
                <a:gd name="connsiteY71" fmla="*/ 2698019 h 4848355"/>
                <a:gd name="connsiteX72" fmla="*/ 1666247 w 4876773"/>
                <a:gd name="connsiteY72" fmla="*/ 3032385 h 4848355"/>
                <a:gd name="connsiteX73" fmla="*/ 2171415 w 4876773"/>
                <a:gd name="connsiteY73" fmla="*/ 2527217 h 4848355"/>
                <a:gd name="connsiteX74" fmla="*/ 2306660 w 4876773"/>
                <a:gd name="connsiteY74" fmla="*/ 2527217 h 4848355"/>
                <a:gd name="connsiteX75" fmla="*/ 2306660 w 4876773"/>
                <a:gd name="connsiteY75" fmla="*/ 2662462 h 4848355"/>
                <a:gd name="connsiteX76" fmla="*/ 1801016 w 4876773"/>
                <a:gd name="connsiteY76" fmla="*/ 3168106 h 4848355"/>
                <a:gd name="connsiteX77" fmla="*/ 2147421 w 4876773"/>
                <a:gd name="connsiteY77" fmla="*/ 3423814 h 4848355"/>
                <a:gd name="connsiteX78" fmla="*/ 3647228 w 4876773"/>
                <a:gd name="connsiteY78" fmla="*/ 2259964 h 4848355"/>
                <a:gd name="connsiteX79" fmla="*/ 4683234 w 4876773"/>
                <a:gd name="connsiteY79" fmla="*/ 269430 h 4848355"/>
                <a:gd name="connsiteX80" fmla="*/ 4685520 w 4876773"/>
                <a:gd name="connsiteY80" fmla="*/ 222900 h 4848355"/>
                <a:gd name="connsiteX81" fmla="*/ 4676566 w 4876773"/>
                <a:gd name="connsiteY81" fmla="*/ 199954 h 4848355"/>
                <a:gd name="connsiteX82" fmla="*/ 4653487 w 4876773"/>
                <a:gd name="connsiteY82" fmla="*/ 191344 h 4848355"/>
                <a:gd name="connsiteX83" fmla="*/ 4641314 w 4876773"/>
                <a:gd name="connsiteY83" fmla="*/ 463 h 4848355"/>
                <a:gd name="connsiteX84" fmla="*/ 4810792 w 4876773"/>
                <a:gd name="connsiteY84" fmla="*/ 63699 h 4848355"/>
                <a:gd name="connsiteX85" fmla="*/ 4876505 w 4876773"/>
                <a:gd name="connsiteY85" fmla="*/ 232235 h 4848355"/>
                <a:gd name="connsiteX86" fmla="*/ 4874229 w 4876773"/>
                <a:gd name="connsiteY86" fmla="*/ 278774 h 4848355"/>
                <a:gd name="connsiteX87" fmla="*/ 3764452 w 4876773"/>
                <a:gd name="connsiteY87" fmla="*/ 2411059 h 4848355"/>
                <a:gd name="connsiteX88" fmla="*/ 3542834 w 4876773"/>
                <a:gd name="connsiteY88" fmla="*/ 2583033 h 4848355"/>
                <a:gd name="connsiteX89" fmla="*/ 3542834 w 4876773"/>
                <a:gd name="connsiteY89" fmla="*/ 3106861 h 4848355"/>
                <a:gd name="connsiteX90" fmla="*/ 3065860 w 4876773"/>
                <a:gd name="connsiteY90" fmla="*/ 4258395 h 4848355"/>
                <a:gd name="connsiteX91" fmla="*/ 2504085 w 4876773"/>
                <a:gd name="connsiteY91" fmla="*/ 4820170 h 4848355"/>
                <a:gd name="connsiteX92" fmla="*/ 2436448 w 4876773"/>
                <a:gd name="connsiteY92" fmla="*/ 4848193 h 4848355"/>
                <a:gd name="connsiteX93" fmla="*/ 2402158 w 4876773"/>
                <a:gd name="connsiteY93" fmla="*/ 4841811 h 4848355"/>
                <a:gd name="connsiteX94" fmla="*/ 2340979 w 4876773"/>
                <a:gd name="connsiteY94" fmla="*/ 4757458 h 4848355"/>
                <a:gd name="connsiteX95" fmla="*/ 2279619 w 4876773"/>
                <a:gd name="connsiteY95" fmla="*/ 3563308 h 4848355"/>
                <a:gd name="connsiteX96" fmla="*/ 2214439 w 4876773"/>
                <a:gd name="connsiteY96" fmla="*/ 3613886 h 4848355"/>
                <a:gd name="connsiteX97" fmla="*/ 2155803 w 4876773"/>
                <a:gd name="connsiteY97" fmla="*/ 3633964 h 4848355"/>
                <a:gd name="connsiteX98" fmla="*/ 2110121 w 4876773"/>
                <a:gd name="connsiteY98" fmla="*/ 3622335 h 4848355"/>
                <a:gd name="connsiteX99" fmla="*/ 2026349 w 4876773"/>
                <a:gd name="connsiteY99" fmla="*/ 3574271 h 4848355"/>
                <a:gd name="connsiteX100" fmla="*/ 1882502 w 4876773"/>
                <a:gd name="connsiteY100" fmla="*/ 3693781 h 4848355"/>
                <a:gd name="connsiteX101" fmla="*/ 1683973 w 4876773"/>
                <a:gd name="connsiteY101" fmla="*/ 3858040 h 4848355"/>
                <a:gd name="connsiteX102" fmla="*/ 1623708 w 4876773"/>
                <a:gd name="connsiteY102" fmla="*/ 3879405 h 4848355"/>
                <a:gd name="connsiteX103" fmla="*/ 1582817 w 4876773"/>
                <a:gd name="connsiteY103" fmla="*/ 3870213 h 4848355"/>
                <a:gd name="connsiteX104" fmla="*/ 1228020 w 4876773"/>
                <a:gd name="connsiteY104" fmla="*/ 3619982 h 4848355"/>
                <a:gd name="connsiteX105" fmla="*/ 985000 w 4876773"/>
                <a:gd name="connsiteY105" fmla="*/ 3272386 h 4848355"/>
                <a:gd name="connsiteX106" fmla="*/ 998306 w 4876773"/>
                <a:gd name="connsiteY106" fmla="*/ 3169868 h 4848355"/>
                <a:gd name="connsiteX107" fmla="*/ 1280303 w 4876773"/>
                <a:gd name="connsiteY107" fmla="*/ 2835093 h 4848355"/>
                <a:gd name="connsiteX108" fmla="*/ 1221782 w 4876773"/>
                <a:gd name="connsiteY108" fmla="*/ 2733966 h 4848355"/>
                <a:gd name="connsiteX109" fmla="*/ 1231554 w 4876773"/>
                <a:gd name="connsiteY109" fmla="*/ 2627982 h 4848355"/>
                <a:gd name="connsiteX110" fmla="*/ 1280036 w 4876773"/>
                <a:gd name="connsiteY110" fmla="*/ 2568289 h 4848355"/>
                <a:gd name="connsiteX111" fmla="*/ 90897 w 4876773"/>
                <a:gd name="connsiteY111" fmla="*/ 2507195 h 4848355"/>
                <a:gd name="connsiteX112" fmla="*/ 6544 w 4876773"/>
                <a:gd name="connsiteY112" fmla="*/ 2446016 h 4848355"/>
                <a:gd name="connsiteX113" fmla="*/ 28185 w 4876773"/>
                <a:gd name="connsiteY113" fmla="*/ 2344080 h 4848355"/>
                <a:gd name="connsiteX114" fmla="*/ 589950 w 4876773"/>
                <a:gd name="connsiteY114" fmla="*/ 1782304 h 4848355"/>
                <a:gd name="connsiteX115" fmla="*/ 1741485 w 4876773"/>
                <a:gd name="connsiteY115" fmla="*/ 1305331 h 4848355"/>
                <a:gd name="connsiteX116" fmla="*/ 1744285 w 4876773"/>
                <a:gd name="connsiteY116" fmla="*/ 1305369 h 4848355"/>
                <a:gd name="connsiteX117" fmla="*/ 2292763 w 4876773"/>
                <a:gd name="connsiteY117" fmla="*/ 1321475 h 4848355"/>
                <a:gd name="connsiteX118" fmla="*/ 2502351 w 4876773"/>
                <a:gd name="connsiteY118" fmla="*/ 1063453 h 4848355"/>
                <a:gd name="connsiteX119" fmla="*/ 4552274 w 4876773"/>
                <a:gd name="connsiteY119" fmla="*/ 6140 h 4848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4876773" h="4848355">
                  <a:moveTo>
                    <a:pt x="95821" y="4656712"/>
                  </a:moveTo>
                  <a:cubicBezTo>
                    <a:pt x="148742" y="4656712"/>
                    <a:pt x="191643" y="4699613"/>
                    <a:pt x="191643" y="4752533"/>
                  </a:cubicBezTo>
                  <a:cubicBezTo>
                    <a:pt x="191643" y="4805454"/>
                    <a:pt x="148742" y="4848355"/>
                    <a:pt x="95821" y="4848355"/>
                  </a:cubicBezTo>
                  <a:cubicBezTo>
                    <a:pt x="42901" y="4848355"/>
                    <a:pt x="0" y="4805454"/>
                    <a:pt x="0" y="4752533"/>
                  </a:cubicBezTo>
                  <a:cubicBezTo>
                    <a:pt x="0" y="4699612"/>
                    <a:pt x="42901" y="4656712"/>
                    <a:pt x="95821" y="4656712"/>
                  </a:cubicBezTo>
                  <a:close/>
                  <a:moveTo>
                    <a:pt x="862291" y="3611335"/>
                  </a:moveTo>
                  <a:cubicBezTo>
                    <a:pt x="899487" y="3609032"/>
                    <a:pt x="936192" y="3628724"/>
                    <a:pt x="953844" y="3664178"/>
                  </a:cubicBezTo>
                  <a:cubicBezTo>
                    <a:pt x="977389" y="3711451"/>
                    <a:pt x="958149" y="3768858"/>
                    <a:pt x="910867" y="3792404"/>
                  </a:cubicBezTo>
                  <a:lnTo>
                    <a:pt x="682133" y="3906304"/>
                  </a:lnTo>
                  <a:cubicBezTo>
                    <a:pt x="582692" y="3955834"/>
                    <a:pt x="516189" y="4055456"/>
                    <a:pt x="508597" y="4166298"/>
                  </a:cubicBezTo>
                  <a:lnTo>
                    <a:pt x="499530" y="4298762"/>
                  </a:lnTo>
                  <a:cubicBezTo>
                    <a:pt x="498006" y="4321137"/>
                    <a:pt x="509188" y="4335891"/>
                    <a:pt x="515998" y="4342701"/>
                  </a:cubicBezTo>
                  <a:cubicBezTo>
                    <a:pt x="522809" y="4349512"/>
                    <a:pt x="537534" y="4360665"/>
                    <a:pt x="559928" y="4359170"/>
                  </a:cubicBezTo>
                  <a:lnTo>
                    <a:pt x="692401" y="4350102"/>
                  </a:lnTo>
                  <a:cubicBezTo>
                    <a:pt x="803253" y="4342520"/>
                    <a:pt x="902866" y="4276017"/>
                    <a:pt x="952396" y="4176566"/>
                  </a:cubicBezTo>
                  <a:lnTo>
                    <a:pt x="1066296" y="3947823"/>
                  </a:lnTo>
                  <a:cubicBezTo>
                    <a:pt x="1089841" y="3900551"/>
                    <a:pt x="1147239" y="3881301"/>
                    <a:pt x="1194521" y="3904847"/>
                  </a:cubicBezTo>
                  <a:cubicBezTo>
                    <a:pt x="1241794" y="3928392"/>
                    <a:pt x="1261034" y="3985790"/>
                    <a:pt x="1237488" y="4033072"/>
                  </a:cubicBezTo>
                  <a:lnTo>
                    <a:pt x="1123589" y="4261805"/>
                  </a:lnTo>
                  <a:cubicBezTo>
                    <a:pt x="1043940" y="4421768"/>
                    <a:pt x="883730" y="4528705"/>
                    <a:pt x="705460" y="4540907"/>
                  </a:cubicBezTo>
                  <a:lnTo>
                    <a:pt x="572986" y="4549975"/>
                  </a:lnTo>
                  <a:cubicBezTo>
                    <a:pt x="567329" y="4550365"/>
                    <a:pt x="561661" y="4550556"/>
                    <a:pt x="556032" y="4550556"/>
                  </a:cubicBezTo>
                  <a:cubicBezTo>
                    <a:pt x="490500" y="4550556"/>
                    <a:pt x="427397" y="4524591"/>
                    <a:pt x="380743" y="4477937"/>
                  </a:cubicBezTo>
                  <a:cubicBezTo>
                    <a:pt x="330070" y="4427264"/>
                    <a:pt x="303819" y="4357198"/>
                    <a:pt x="308715" y="4285694"/>
                  </a:cubicBezTo>
                  <a:lnTo>
                    <a:pt x="317783" y="4153230"/>
                  </a:lnTo>
                  <a:cubicBezTo>
                    <a:pt x="329994" y="3974960"/>
                    <a:pt x="436941" y="3814750"/>
                    <a:pt x="596885" y="3735101"/>
                  </a:cubicBezTo>
                  <a:lnTo>
                    <a:pt x="825618" y="3621201"/>
                  </a:lnTo>
                  <a:cubicBezTo>
                    <a:pt x="837439" y="3615315"/>
                    <a:pt x="849892" y="3612103"/>
                    <a:pt x="862291" y="3611335"/>
                  </a:cubicBezTo>
                  <a:close/>
                  <a:moveTo>
                    <a:pt x="1391803" y="2999590"/>
                  </a:moveTo>
                  <a:lnTo>
                    <a:pt x="1185339" y="3244697"/>
                  </a:lnTo>
                  <a:cubicBezTo>
                    <a:pt x="1233612" y="3333641"/>
                    <a:pt x="1293476" y="3414385"/>
                    <a:pt x="1363809" y="3485299"/>
                  </a:cubicBezTo>
                  <a:cubicBezTo>
                    <a:pt x="1436428" y="3558527"/>
                    <a:pt x="1519524" y="3620601"/>
                    <a:pt x="1611383" y="3670350"/>
                  </a:cubicBezTo>
                  <a:cubicBezTo>
                    <a:pt x="1658874" y="3631288"/>
                    <a:pt x="1710052" y="3588578"/>
                    <a:pt x="1759973" y="3546935"/>
                  </a:cubicBezTo>
                  <a:cubicBezTo>
                    <a:pt x="1793215" y="3519198"/>
                    <a:pt x="1827000" y="3491004"/>
                    <a:pt x="1859976" y="3463629"/>
                  </a:cubicBezTo>
                  <a:cubicBezTo>
                    <a:pt x="1766583" y="3395268"/>
                    <a:pt x="1678544" y="3319678"/>
                    <a:pt x="1596695" y="3237306"/>
                  </a:cubicBezTo>
                  <a:cubicBezTo>
                    <a:pt x="1596667" y="3237277"/>
                    <a:pt x="1596638" y="3237258"/>
                    <a:pt x="1596609" y="3237229"/>
                  </a:cubicBezTo>
                  <a:cubicBezTo>
                    <a:pt x="1596590" y="3237210"/>
                    <a:pt x="1596571" y="3237182"/>
                    <a:pt x="1596552" y="3237163"/>
                  </a:cubicBezTo>
                  <a:cubicBezTo>
                    <a:pt x="1596495" y="3237106"/>
                    <a:pt x="1596438" y="3237058"/>
                    <a:pt x="1596381" y="3237001"/>
                  </a:cubicBezTo>
                  <a:cubicBezTo>
                    <a:pt x="1522562" y="3162677"/>
                    <a:pt x="1454230" y="3083343"/>
                    <a:pt x="1391803" y="2999590"/>
                  </a:cubicBezTo>
                  <a:close/>
                  <a:moveTo>
                    <a:pt x="3351600" y="2731461"/>
                  </a:moveTo>
                  <a:lnTo>
                    <a:pt x="2463785" y="3420405"/>
                  </a:lnTo>
                  <a:lnTo>
                    <a:pt x="2520954" y="4532848"/>
                  </a:lnTo>
                  <a:lnTo>
                    <a:pt x="2930643" y="4123159"/>
                  </a:lnTo>
                  <a:cubicBezTo>
                    <a:pt x="3202115" y="3851687"/>
                    <a:pt x="3351610" y="3490766"/>
                    <a:pt x="3351610" y="3106861"/>
                  </a:cubicBezTo>
                  <a:lnTo>
                    <a:pt x="3351600" y="3106861"/>
                  </a:lnTo>
                  <a:close/>
                  <a:moveTo>
                    <a:pt x="2543223" y="2226713"/>
                  </a:moveTo>
                  <a:cubicBezTo>
                    <a:pt x="2596038" y="2226713"/>
                    <a:pt x="2638854" y="2269528"/>
                    <a:pt x="2638854" y="2322344"/>
                  </a:cubicBezTo>
                  <a:cubicBezTo>
                    <a:pt x="2638854" y="2375159"/>
                    <a:pt x="2596038" y="2417975"/>
                    <a:pt x="2543223" y="2417975"/>
                  </a:cubicBezTo>
                  <a:cubicBezTo>
                    <a:pt x="2490407" y="2417975"/>
                    <a:pt x="2447592" y="2375159"/>
                    <a:pt x="2447592" y="2322344"/>
                  </a:cubicBezTo>
                  <a:cubicBezTo>
                    <a:pt x="2447592" y="2269528"/>
                    <a:pt x="2490407" y="2226713"/>
                    <a:pt x="2543223" y="2226713"/>
                  </a:cubicBezTo>
                  <a:close/>
                  <a:moveTo>
                    <a:pt x="1740104" y="1496583"/>
                  </a:moveTo>
                  <a:cubicBezTo>
                    <a:pt x="1356722" y="1496955"/>
                    <a:pt x="996315" y="1646421"/>
                    <a:pt x="725186" y="1917550"/>
                  </a:cubicBezTo>
                  <a:lnTo>
                    <a:pt x="315497" y="2327239"/>
                  </a:lnTo>
                  <a:lnTo>
                    <a:pt x="1429350" y="2384466"/>
                  </a:lnTo>
                  <a:lnTo>
                    <a:pt x="2140963" y="1508356"/>
                  </a:lnTo>
                  <a:close/>
                  <a:moveTo>
                    <a:pt x="3507705" y="1182068"/>
                  </a:moveTo>
                  <a:cubicBezTo>
                    <a:pt x="3450070" y="1182068"/>
                    <a:pt x="3395891" y="1204509"/>
                    <a:pt x="3355134" y="1245266"/>
                  </a:cubicBezTo>
                  <a:cubicBezTo>
                    <a:pt x="3270999" y="1329400"/>
                    <a:pt x="3270999" y="1466294"/>
                    <a:pt x="3355134" y="1550419"/>
                  </a:cubicBezTo>
                  <a:cubicBezTo>
                    <a:pt x="3439249" y="1634543"/>
                    <a:pt x="3576152" y="1634543"/>
                    <a:pt x="3660286" y="1550419"/>
                  </a:cubicBezTo>
                  <a:cubicBezTo>
                    <a:pt x="3744411" y="1466294"/>
                    <a:pt x="3744411" y="1329400"/>
                    <a:pt x="3660277" y="1245266"/>
                  </a:cubicBezTo>
                  <a:cubicBezTo>
                    <a:pt x="3619519" y="1204509"/>
                    <a:pt x="3565341" y="1182068"/>
                    <a:pt x="3507705" y="1182068"/>
                  </a:cubicBezTo>
                  <a:close/>
                  <a:moveTo>
                    <a:pt x="3507705" y="990825"/>
                  </a:moveTo>
                  <a:cubicBezTo>
                    <a:pt x="3616424" y="990825"/>
                    <a:pt x="3718636" y="1033154"/>
                    <a:pt x="3795513" y="1110040"/>
                  </a:cubicBezTo>
                  <a:cubicBezTo>
                    <a:pt x="3954209" y="1268736"/>
                    <a:pt x="3954209" y="1526958"/>
                    <a:pt x="3795513" y="1685664"/>
                  </a:cubicBezTo>
                  <a:cubicBezTo>
                    <a:pt x="3716169" y="1764998"/>
                    <a:pt x="3611918" y="1804679"/>
                    <a:pt x="3507705" y="1804679"/>
                  </a:cubicBezTo>
                  <a:cubicBezTo>
                    <a:pt x="3403464" y="1804679"/>
                    <a:pt x="3299260" y="1765017"/>
                    <a:pt x="3219898" y="1685664"/>
                  </a:cubicBezTo>
                  <a:cubicBezTo>
                    <a:pt x="3061202" y="1526968"/>
                    <a:pt x="3061202" y="1268745"/>
                    <a:pt x="3219898" y="1110040"/>
                  </a:cubicBezTo>
                  <a:cubicBezTo>
                    <a:pt x="3296765" y="1033173"/>
                    <a:pt x="3398987" y="990825"/>
                    <a:pt x="3507705" y="990825"/>
                  </a:cubicBezTo>
                  <a:close/>
                  <a:moveTo>
                    <a:pt x="4653487" y="191344"/>
                  </a:moveTo>
                  <a:lnTo>
                    <a:pt x="4564447" y="197021"/>
                  </a:lnTo>
                  <a:cubicBezTo>
                    <a:pt x="3819144" y="244588"/>
                    <a:pt x="3121648" y="604348"/>
                    <a:pt x="2650808" y="1184030"/>
                  </a:cubicBezTo>
                  <a:lnTo>
                    <a:pt x="1421073" y="2698019"/>
                  </a:lnTo>
                  <a:cubicBezTo>
                    <a:pt x="1491111" y="2817682"/>
                    <a:pt x="1573368" y="2929562"/>
                    <a:pt x="1666247" y="3032385"/>
                  </a:cubicBezTo>
                  <a:lnTo>
                    <a:pt x="2171415" y="2527217"/>
                  </a:lnTo>
                  <a:cubicBezTo>
                    <a:pt x="2208762" y="2489869"/>
                    <a:pt x="2269313" y="2489869"/>
                    <a:pt x="2306660" y="2527217"/>
                  </a:cubicBezTo>
                  <a:cubicBezTo>
                    <a:pt x="2343998" y="2564564"/>
                    <a:pt x="2343998" y="2625124"/>
                    <a:pt x="2306660" y="2662462"/>
                  </a:cubicBezTo>
                  <a:lnTo>
                    <a:pt x="1801016" y="3168106"/>
                  </a:lnTo>
                  <a:cubicBezTo>
                    <a:pt x="1907115" y="3265328"/>
                    <a:pt x="2023044" y="3351139"/>
                    <a:pt x="2147421" y="3423814"/>
                  </a:cubicBezTo>
                  <a:lnTo>
                    <a:pt x="3647228" y="2259964"/>
                  </a:lnTo>
                  <a:cubicBezTo>
                    <a:pt x="4267248" y="1778828"/>
                    <a:pt x="4644857" y="1053309"/>
                    <a:pt x="4683234" y="269430"/>
                  </a:cubicBezTo>
                  <a:lnTo>
                    <a:pt x="4685520" y="222900"/>
                  </a:lnTo>
                  <a:cubicBezTo>
                    <a:pt x="4686091" y="211175"/>
                    <a:pt x="4680157" y="203488"/>
                    <a:pt x="4676566" y="199954"/>
                  </a:cubicBezTo>
                  <a:cubicBezTo>
                    <a:pt x="4672966" y="196411"/>
                    <a:pt x="4665155" y="190620"/>
                    <a:pt x="4653487" y="191344"/>
                  </a:cubicBezTo>
                  <a:close/>
                  <a:moveTo>
                    <a:pt x="4641314" y="463"/>
                  </a:moveTo>
                  <a:cubicBezTo>
                    <a:pt x="4704103" y="-3624"/>
                    <a:pt x="4765920" y="19494"/>
                    <a:pt x="4810792" y="63699"/>
                  </a:cubicBezTo>
                  <a:cubicBezTo>
                    <a:pt x="4855645" y="107914"/>
                    <a:pt x="4879610" y="169331"/>
                    <a:pt x="4876505" y="232235"/>
                  </a:cubicBezTo>
                  <a:lnTo>
                    <a:pt x="4874229" y="278774"/>
                  </a:lnTo>
                  <a:cubicBezTo>
                    <a:pt x="4833119" y="1118479"/>
                    <a:pt x="4428621" y="1895661"/>
                    <a:pt x="3764452" y="2411059"/>
                  </a:cubicBezTo>
                  <a:lnTo>
                    <a:pt x="3542834" y="2583033"/>
                  </a:lnTo>
                  <a:lnTo>
                    <a:pt x="3542834" y="3106861"/>
                  </a:lnTo>
                  <a:cubicBezTo>
                    <a:pt x="3542834" y="3541858"/>
                    <a:pt x="3373451" y="3950804"/>
                    <a:pt x="3065860" y="4258395"/>
                  </a:cubicBezTo>
                  <a:lnTo>
                    <a:pt x="2504085" y="4820170"/>
                  </a:lnTo>
                  <a:cubicBezTo>
                    <a:pt x="2485816" y="4838449"/>
                    <a:pt x="2461356" y="4848193"/>
                    <a:pt x="2436448" y="4848193"/>
                  </a:cubicBezTo>
                  <a:cubicBezTo>
                    <a:pt x="2424923" y="4848193"/>
                    <a:pt x="2413321" y="4846097"/>
                    <a:pt x="2402158" y="4841811"/>
                  </a:cubicBezTo>
                  <a:cubicBezTo>
                    <a:pt x="2366896" y="4828247"/>
                    <a:pt x="2342922" y="4795195"/>
                    <a:pt x="2340979" y="4757458"/>
                  </a:cubicBezTo>
                  <a:lnTo>
                    <a:pt x="2279619" y="3563308"/>
                  </a:lnTo>
                  <a:lnTo>
                    <a:pt x="2214439" y="3613886"/>
                  </a:lnTo>
                  <a:cubicBezTo>
                    <a:pt x="2197313" y="3627183"/>
                    <a:pt x="2176625" y="3633964"/>
                    <a:pt x="2155803" y="3633964"/>
                  </a:cubicBezTo>
                  <a:cubicBezTo>
                    <a:pt x="2140154" y="3633964"/>
                    <a:pt x="2124447" y="3630126"/>
                    <a:pt x="2110121" y="3622335"/>
                  </a:cubicBezTo>
                  <a:cubicBezTo>
                    <a:pt x="2081803" y="3606933"/>
                    <a:pt x="2053905" y="3590854"/>
                    <a:pt x="2026349" y="3574271"/>
                  </a:cubicBezTo>
                  <a:cubicBezTo>
                    <a:pt x="1980181" y="3612276"/>
                    <a:pt x="1930785" y="3653491"/>
                    <a:pt x="1882502" y="3693781"/>
                  </a:cubicBezTo>
                  <a:cubicBezTo>
                    <a:pt x="1814761" y="3750303"/>
                    <a:pt x="1744723" y="3808758"/>
                    <a:pt x="1683973" y="3858040"/>
                  </a:cubicBezTo>
                  <a:cubicBezTo>
                    <a:pt x="1666599" y="3872128"/>
                    <a:pt x="1645244" y="3879405"/>
                    <a:pt x="1623708" y="3879405"/>
                  </a:cubicBezTo>
                  <a:cubicBezTo>
                    <a:pt x="1609821" y="3879405"/>
                    <a:pt x="1595847" y="3876385"/>
                    <a:pt x="1582817" y="3870213"/>
                  </a:cubicBezTo>
                  <a:cubicBezTo>
                    <a:pt x="1449486" y="3807110"/>
                    <a:pt x="1330109" y="3722928"/>
                    <a:pt x="1228020" y="3619982"/>
                  </a:cubicBezTo>
                  <a:cubicBezTo>
                    <a:pt x="1128351" y="3519493"/>
                    <a:pt x="1046598" y="3402545"/>
                    <a:pt x="985000" y="3272386"/>
                  </a:cubicBezTo>
                  <a:cubicBezTo>
                    <a:pt x="969007" y="3238553"/>
                    <a:pt x="974198" y="3198491"/>
                    <a:pt x="998306" y="3169868"/>
                  </a:cubicBezTo>
                  <a:lnTo>
                    <a:pt x="1280303" y="2835093"/>
                  </a:lnTo>
                  <a:cubicBezTo>
                    <a:pt x="1259939" y="2801927"/>
                    <a:pt x="1240413" y="2768218"/>
                    <a:pt x="1221782" y="2733966"/>
                  </a:cubicBezTo>
                  <a:cubicBezTo>
                    <a:pt x="1203255" y="2699924"/>
                    <a:pt x="1207123" y="2658071"/>
                    <a:pt x="1231554" y="2627982"/>
                  </a:cubicBezTo>
                  <a:lnTo>
                    <a:pt x="1280036" y="2568289"/>
                  </a:lnTo>
                  <a:lnTo>
                    <a:pt x="90897" y="2507195"/>
                  </a:lnTo>
                  <a:cubicBezTo>
                    <a:pt x="53159" y="2505271"/>
                    <a:pt x="20108" y="2481287"/>
                    <a:pt x="6544" y="2446016"/>
                  </a:cubicBezTo>
                  <a:cubicBezTo>
                    <a:pt x="-7020" y="2410755"/>
                    <a:pt x="1467" y="2370797"/>
                    <a:pt x="28185" y="2344080"/>
                  </a:cubicBezTo>
                  <a:lnTo>
                    <a:pt x="589950" y="1782304"/>
                  </a:lnTo>
                  <a:cubicBezTo>
                    <a:pt x="897541" y="1474723"/>
                    <a:pt x="1306497" y="1305331"/>
                    <a:pt x="1741485" y="1305331"/>
                  </a:cubicBezTo>
                  <a:cubicBezTo>
                    <a:pt x="1742409" y="1305331"/>
                    <a:pt x="1743352" y="1305340"/>
                    <a:pt x="1744285" y="1305369"/>
                  </a:cubicBezTo>
                  <a:lnTo>
                    <a:pt x="2292763" y="1321475"/>
                  </a:lnTo>
                  <a:lnTo>
                    <a:pt x="2502351" y="1063453"/>
                  </a:lnTo>
                  <a:cubicBezTo>
                    <a:pt x="3006729" y="442480"/>
                    <a:pt x="3753898" y="57108"/>
                    <a:pt x="4552274" y="6140"/>
                  </a:cubicBezTo>
                  <a:close/>
                </a:path>
              </a:pathLst>
            </a:custGeom>
            <a:solidFill>
              <a:srgbClr val="7396A0"/>
            </a:solidFill>
            <a:ln w="9525" cap="flat">
              <a:solidFill>
                <a:srgbClr val="7396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grpSp>
    </p:spTree>
    <p:extLst>
      <p:ext uri="{BB962C8B-B14F-4D97-AF65-F5344CB8AC3E}">
        <p14:creationId xmlns:p14="http://schemas.microsoft.com/office/powerpoint/2010/main" val="233722604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Picture Placeholder 9">
            <a:extLst>
              <a:ext uri="{FF2B5EF4-FFF2-40B4-BE49-F238E27FC236}">
                <a16:creationId xmlns:a16="http://schemas.microsoft.com/office/drawing/2014/main" id="{D2058046-FA19-28E2-EDB3-15A45AE96ABF}"/>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4288" y="-1"/>
            <a:ext cx="12206288" cy="1467854"/>
          </a:xfrm>
          <a:prstGeom prst="rect">
            <a:avLst/>
          </a:prstGeom>
        </p:spPr>
      </p:pic>
      <p:grpSp>
        <p:nvGrpSpPr>
          <p:cNvPr id="61" name="Group 60">
            <a:extLst>
              <a:ext uri="{FF2B5EF4-FFF2-40B4-BE49-F238E27FC236}">
                <a16:creationId xmlns:a16="http://schemas.microsoft.com/office/drawing/2014/main" id="{114ECD33-1796-2EC0-F62B-1F3F99A2657D}"/>
              </a:ext>
            </a:extLst>
          </p:cNvPr>
          <p:cNvGrpSpPr/>
          <p:nvPr/>
        </p:nvGrpSpPr>
        <p:grpSpPr>
          <a:xfrm>
            <a:off x="6980402" y="2158627"/>
            <a:ext cx="3527409" cy="3527946"/>
            <a:chOff x="4594597" y="1926675"/>
            <a:chExt cx="3003170" cy="3003627"/>
          </a:xfrm>
        </p:grpSpPr>
        <p:sp>
          <p:nvSpPr>
            <p:cNvPr id="62" name="Freeform 5">
              <a:extLst>
                <a:ext uri="{FF2B5EF4-FFF2-40B4-BE49-F238E27FC236}">
                  <a16:creationId xmlns:a16="http://schemas.microsoft.com/office/drawing/2014/main" id="{87B96381-0374-5916-664E-CA0A69F771F5}"/>
                </a:ext>
              </a:extLst>
            </p:cNvPr>
            <p:cNvSpPr>
              <a:spLocks/>
            </p:cNvSpPr>
            <p:nvPr/>
          </p:nvSpPr>
          <p:spPr bwMode="auto">
            <a:xfrm>
              <a:off x="6095718" y="1927603"/>
              <a:ext cx="1501351" cy="1501350"/>
            </a:xfrm>
            <a:custGeom>
              <a:avLst/>
              <a:gdLst>
                <a:gd name="T0" fmla="*/ 0 w 3237"/>
                <a:gd name="T1" fmla="*/ 3237 h 3237"/>
                <a:gd name="T2" fmla="*/ 3237 w 3237"/>
                <a:gd name="T3" fmla="*/ 3237 h 3237"/>
                <a:gd name="T4" fmla="*/ 3235 w 3237"/>
                <a:gd name="T5" fmla="*/ 3152 h 3237"/>
                <a:gd name="T6" fmla="*/ 3233 w 3237"/>
                <a:gd name="T7" fmla="*/ 3070 h 3237"/>
                <a:gd name="T8" fmla="*/ 3228 w 3237"/>
                <a:gd name="T9" fmla="*/ 2987 h 3237"/>
                <a:gd name="T10" fmla="*/ 3220 w 3237"/>
                <a:gd name="T11" fmla="*/ 2905 h 3237"/>
                <a:gd name="T12" fmla="*/ 3210 w 3237"/>
                <a:gd name="T13" fmla="*/ 2824 h 3237"/>
                <a:gd name="T14" fmla="*/ 3199 w 3237"/>
                <a:gd name="T15" fmla="*/ 2743 h 3237"/>
                <a:gd name="T16" fmla="*/ 3187 w 3237"/>
                <a:gd name="T17" fmla="*/ 2663 h 3237"/>
                <a:gd name="T18" fmla="*/ 3172 w 3237"/>
                <a:gd name="T19" fmla="*/ 2584 h 3237"/>
                <a:gd name="T20" fmla="*/ 3136 w 3237"/>
                <a:gd name="T21" fmla="*/ 2427 h 3237"/>
                <a:gd name="T22" fmla="*/ 3091 w 3237"/>
                <a:gd name="T23" fmla="*/ 2273 h 3237"/>
                <a:gd name="T24" fmla="*/ 3041 w 3237"/>
                <a:gd name="T25" fmla="*/ 2123 h 3237"/>
                <a:gd name="T26" fmla="*/ 2982 w 3237"/>
                <a:gd name="T27" fmla="*/ 1975 h 3237"/>
                <a:gd name="T28" fmla="*/ 2919 w 3237"/>
                <a:gd name="T29" fmla="*/ 1833 h 3237"/>
                <a:gd name="T30" fmla="*/ 2846 w 3237"/>
                <a:gd name="T31" fmla="*/ 1693 h 3237"/>
                <a:gd name="T32" fmla="*/ 2769 w 3237"/>
                <a:gd name="T33" fmla="*/ 1557 h 3237"/>
                <a:gd name="T34" fmla="*/ 2684 w 3237"/>
                <a:gd name="T35" fmla="*/ 1426 h 3237"/>
                <a:gd name="T36" fmla="*/ 2594 w 3237"/>
                <a:gd name="T37" fmla="*/ 1300 h 3237"/>
                <a:gd name="T38" fmla="*/ 2498 w 3237"/>
                <a:gd name="T39" fmla="*/ 1177 h 3237"/>
                <a:gd name="T40" fmla="*/ 2396 w 3237"/>
                <a:gd name="T41" fmla="*/ 1060 h 3237"/>
                <a:gd name="T42" fmla="*/ 2289 w 3237"/>
                <a:gd name="T43" fmla="*/ 946 h 3237"/>
                <a:gd name="T44" fmla="*/ 2175 w 3237"/>
                <a:gd name="T45" fmla="*/ 841 h 3237"/>
                <a:gd name="T46" fmla="*/ 2058 w 3237"/>
                <a:gd name="T47" fmla="*/ 739 h 3237"/>
                <a:gd name="T48" fmla="*/ 1937 w 3237"/>
                <a:gd name="T49" fmla="*/ 643 h 3237"/>
                <a:gd name="T50" fmla="*/ 1809 w 3237"/>
                <a:gd name="T51" fmla="*/ 553 h 3237"/>
                <a:gd name="T52" fmla="*/ 1678 w 3237"/>
                <a:gd name="T53" fmla="*/ 468 h 3237"/>
                <a:gd name="T54" fmla="*/ 1542 w 3237"/>
                <a:gd name="T55" fmla="*/ 389 h 3237"/>
                <a:gd name="T56" fmla="*/ 1404 w 3237"/>
                <a:gd name="T57" fmla="*/ 318 h 3237"/>
                <a:gd name="T58" fmla="*/ 1260 w 3237"/>
                <a:gd name="T59" fmla="*/ 253 h 3237"/>
                <a:gd name="T60" fmla="*/ 1112 w 3237"/>
                <a:gd name="T61" fmla="*/ 196 h 3237"/>
                <a:gd name="T62" fmla="*/ 962 w 3237"/>
                <a:gd name="T63" fmla="*/ 144 h 3237"/>
                <a:gd name="T64" fmla="*/ 808 w 3237"/>
                <a:gd name="T65" fmla="*/ 101 h 3237"/>
                <a:gd name="T66" fmla="*/ 651 w 3237"/>
                <a:gd name="T67" fmla="*/ 65 h 3237"/>
                <a:gd name="T68" fmla="*/ 572 w 3237"/>
                <a:gd name="T69" fmla="*/ 50 h 3237"/>
                <a:gd name="T70" fmla="*/ 492 w 3237"/>
                <a:gd name="T71" fmla="*/ 36 h 3237"/>
                <a:gd name="T72" fmla="*/ 411 w 3237"/>
                <a:gd name="T73" fmla="*/ 25 h 3237"/>
                <a:gd name="T74" fmla="*/ 330 w 3237"/>
                <a:gd name="T75" fmla="*/ 15 h 3237"/>
                <a:gd name="T76" fmla="*/ 248 w 3237"/>
                <a:gd name="T77" fmla="*/ 9 h 3237"/>
                <a:gd name="T78" fmla="*/ 165 w 3237"/>
                <a:gd name="T79" fmla="*/ 3 h 3237"/>
                <a:gd name="T80" fmla="*/ 83 w 3237"/>
                <a:gd name="T81" fmla="*/ 0 h 3237"/>
                <a:gd name="T82" fmla="*/ 0 w 3237"/>
                <a:gd name="T83" fmla="*/ 0 h 3237"/>
                <a:gd name="T84" fmla="*/ 0 w 3237"/>
                <a:gd name="T85" fmla="*/ 0 h 3237"/>
                <a:gd name="T86" fmla="*/ 0 w 3237"/>
                <a:gd name="T87" fmla="*/ 3237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0" y="3237"/>
                  </a:moveTo>
                  <a:lnTo>
                    <a:pt x="3237" y="3237"/>
                  </a:lnTo>
                  <a:lnTo>
                    <a:pt x="3235" y="3152"/>
                  </a:lnTo>
                  <a:lnTo>
                    <a:pt x="3233" y="3070"/>
                  </a:lnTo>
                  <a:lnTo>
                    <a:pt x="3228" y="2987"/>
                  </a:lnTo>
                  <a:lnTo>
                    <a:pt x="3220" y="2905"/>
                  </a:lnTo>
                  <a:lnTo>
                    <a:pt x="3210" y="2824"/>
                  </a:lnTo>
                  <a:lnTo>
                    <a:pt x="3199" y="2743"/>
                  </a:lnTo>
                  <a:lnTo>
                    <a:pt x="3187" y="2663"/>
                  </a:lnTo>
                  <a:lnTo>
                    <a:pt x="3172" y="2584"/>
                  </a:lnTo>
                  <a:lnTo>
                    <a:pt x="3136" y="2427"/>
                  </a:lnTo>
                  <a:lnTo>
                    <a:pt x="3091" y="2273"/>
                  </a:lnTo>
                  <a:lnTo>
                    <a:pt x="3041" y="2123"/>
                  </a:lnTo>
                  <a:lnTo>
                    <a:pt x="2982" y="1975"/>
                  </a:lnTo>
                  <a:lnTo>
                    <a:pt x="2919" y="1833"/>
                  </a:lnTo>
                  <a:lnTo>
                    <a:pt x="2846" y="1693"/>
                  </a:lnTo>
                  <a:lnTo>
                    <a:pt x="2769" y="1557"/>
                  </a:lnTo>
                  <a:lnTo>
                    <a:pt x="2684" y="1426"/>
                  </a:lnTo>
                  <a:lnTo>
                    <a:pt x="2594" y="1300"/>
                  </a:lnTo>
                  <a:lnTo>
                    <a:pt x="2498" y="1177"/>
                  </a:lnTo>
                  <a:lnTo>
                    <a:pt x="2396" y="1060"/>
                  </a:lnTo>
                  <a:lnTo>
                    <a:pt x="2289" y="946"/>
                  </a:lnTo>
                  <a:lnTo>
                    <a:pt x="2175" y="841"/>
                  </a:lnTo>
                  <a:lnTo>
                    <a:pt x="2058" y="739"/>
                  </a:lnTo>
                  <a:lnTo>
                    <a:pt x="1937" y="643"/>
                  </a:lnTo>
                  <a:lnTo>
                    <a:pt x="1809" y="553"/>
                  </a:lnTo>
                  <a:lnTo>
                    <a:pt x="1678" y="468"/>
                  </a:lnTo>
                  <a:lnTo>
                    <a:pt x="1542" y="389"/>
                  </a:lnTo>
                  <a:lnTo>
                    <a:pt x="1404" y="318"/>
                  </a:lnTo>
                  <a:lnTo>
                    <a:pt x="1260" y="253"/>
                  </a:lnTo>
                  <a:lnTo>
                    <a:pt x="1112" y="196"/>
                  </a:lnTo>
                  <a:lnTo>
                    <a:pt x="962" y="144"/>
                  </a:lnTo>
                  <a:lnTo>
                    <a:pt x="808" y="101"/>
                  </a:lnTo>
                  <a:lnTo>
                    <a:pt x="651" y="65"/>
                  </a:lnTo>
                  <a:lnTo>
                    <a:pt x="572" y="50"/>
                  </a:lnTo>
                  <a:lnTo>
                    <a:pt x="492" y="36"/>
                  </a:lnTo>
                  <a:lnTo>
                    <a:pt x="411" y="25"/>
                  </a:lnTo>
                  <a:lnTo>
                    <a:pt x="330" y="15"/>
                  </a:lnTo>
                  <a:lnTo>
                    <a:pt x="248" y="9"/>
                  </a:lnTo>
                  <a:lnTo>
                    <a:pt x="165" y="3"/>
                  </a:lnTo>
                  <a:lnTo>
                    <a:pt x="83" y="0"/>
                  </a:lnTo>
                  <a:lnTo>
                    <a:pt x="0" y="0"/>
                  </a:lnTo>
                  <a:lnTo>
                    <a:pt x="0" y="0"/>
                  </a:lnTo>
                  <a:lnTo>
                    <a:pt x="0" y="3237"/>
                  </a:lnTo>
                  <a:close/>
                </a:path>
              </a:pathLst>
            </a:custGeom>
            <a:solidFill>
              <a:srgbClr val="1189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4138" b="1" i="0" u="none" strike="noStrike" kern="0" cap="none" spc="0" normalizeH="0" baseline="0" noProof="0">
                <a:ln>
                  <a:noFill/>
                </a:ln>
                <a:solidFill>
                  <a:prstClr val="white"/>
                </a:solidFill>
                <a:effectLst/>
                <a:uLnTx/>
                <a:uFillTx/>
                <a:latin typeface="Calibri"/>
                <a:ea typeface="+mn-ea"/>
                <a:cs typeface="+mn-cs"/>
              </a:endParaRPr>
            </a:p>
          </p:txBody>
        </p:sp>
        <p:grpSp>
          <p:nvGrpSpPr>
            <p:cNvPr id="63" name="Group 62">
              <a:extLst>
                <a:ext uri="{FF2B5EF4-FFF2-40B4-BE49-F238E27FC236}">
                  <a16:creationId xmlns:a16="http://schemas.microsoft.com/office/drawing/2014/main" id="{89ADDADD-2C75-2BD7-A94F-9EB933012649}"/>
                </a:ext>
              </a:extLst>
            </p:cNvPr>
            <p:cNvGrpSpPr/>
            <p:nvPr/>
          </p:nvGrpSpPr>
          <p:grpSpPr>
            <a:xfrm>
              <a:off x="4594597" y="1926675"/>
              <a:ext cx="3003170" cy="3003627"/>
              <a:chOff x="4594597" y="1926675"/>
              <a:chExt cx="3003170" cy="3003627"/>
            </a:xfrm>
          </p:grpSpPr>
          <p:sp>
            <p:nvSpPr>
              <p:cNvPr id="64" name="Freeform 6">
                <a:extLst>
                  <a:ext uri="{FF2B5EF4-FFF2-40B4-BE49-F238E27FC236}">
                    <a16:creationId xmlns:a16="http://schemas.microsoft.com/office/drawing/2014/main" id="{36D41B60-0BC4-F0D8-D66E-72C07B1EA700}"/>
                  </a:ext>
                </a:extLst>
              </p:cNvPr>
              <p:cNvSpPr>
                <a:spLocks/>
              </p:cNvSpPr>
              <p:nvPr/>
            </p:nvSpPr>
            <p:spPr bwMode="auto">
              <a:xfrm>
                <a:off x="6095718" y="3428952"/>
                <a:ext cx="1501351" cy="1501350"/>
              </a:xfrm>
              <a:custGeom>
                <a:avLst/>
                <a:gdLst>
                  <a:gd name="T0" fmla="*/ 0 w 3237"/>
                  <a:gd name="T1" fmla="*/ 0 h 3237"/>
                  <a:gd name="T2" fmla="*/ 0 w 3237"/>
                  <a:gd name="T3" fmla="*/ 3237 h 3237"/>
                  <a:gd name="T4" fmla="*/ 83 w 3237"/>
                  <a:gd name="T5" fmla="*/ 3235 h 3237"/>
                  <a:gd name="T6" fmla="*/ 165 w 3237"/>
                  <a:gd name="T7" fmla="*/ 3232 h 3237"/>
                  <a:gd name="T8" fmla="*/ 248 w 3237"/>
                  <a:gd name="T9" fmla="*/ 3228 h 3237"/>
                  <a:gd name="T10" fmla="*/ 330 w 3237"/>
                  <a:gd name="T11" fmla="*/ 3220 h 3237"/>
                  <a:gd name="T12" fmla="*/ 411 w 3237"/>
                  <a:gd name="T13" fmla="*/ 3210 h 3237"/>
                  <a:gd name="T14" fmla="*/ 492 w 3237"/>
                  <a:gd name="T15" fmla="*/ 3199 h 3237"/>
                  <a:gd name="T16" fmla="*/ 572 w 3237"/>
                  <a:gd name="T17" fmla="*/ 3185 h 3237"/>
                  <a:gd name="T18" fmla="*/ 651 w 3237"/>
                  <a:gd name="T19" fmla="*/ 3170 h 3237"/>
                  <a:gd name="T20" fmla="*/ 808 w 3237"/>
                  <a:gd name="T21" fmla="*/ 3136 h 3237"/>
                  <a:gd name="T22" fmla="*/ 962 w 3237"/>
                  <a:gd name="T23" fmla="*/ 3091 h 3237"/>
                  <a:gd name="T24" fmla="*/ 1112 w 3237"/>
                  <a:gd name="T25" fmla="*/ 3039 h 3237"/>
                  <a:gd name="T26" fmla="*/ 1260 w 3237"/>
                  <a:gd name="T27" fmla="*/ 2982 h 3237"/>
                  <a:gd name="T28" fmla="*/ 1404 w 3237"/>
                  <a:gd name="T29" fmla="*/ 2917 h 3237"/>
                  <a:gd name="T30" fmla="*/ 1542 w 3237"/>
                  <a:gd name="T31" fmla="*/ 2846 h 3237"/>
                  <a:gd name="T32" fmla="*/ 1678 w 3237"/>
                  <a:gd name="T33" fmla="*/ 2769 h 3237"/>
                  <a:gd name="T34" fmla="*/ 1809 w 3237"/>
                  <a:gd name="T35" fmla="*/ 2684 h 3237"/>
                  <a:gd name="T36" fmla="*/ 1937 w 3237"/>
                  <a:gd name="T37" fmla="*/ 2594 h 3237"/>
                  <a:gd name="T38" fmla="*/ 2058 w 3237"/>
                  <a:gd name="T39" fmla="*/ 2498 h 3237"/>
                  <a:gd name="T40" fmla="*/ 2175 w 3237"/>
                  <a:gd name="T41" fmla="*/ 2396 h 3237"/>
                  <a:gd name="T42" fmla="*/ 2289 w 3237"/>
                  <a:gd name="T43" fmla="*/ 2289 h 3237"/>
                  <a:gd name="T44" fmla="*/ 2396 w 3237"/>
                  <a:gd name="T45" fmla="*/ 2175 h 3237"/>
                  <a:gd name="T46" fmla="*/ 2498 w 3237"/>
                  <a:gd name="T47" fmla="*/ 2058 h 3237"/>
                  <a:gd name="T48" fmla="*/ 2594 w 3237"/>
                  <a:gd name="T49" fmla="*/ 1935 h 3237"/>
                  <a:gd name="T50" fmla="*/ 2684 w 3237"/>
                  <a:gd name="T51" fmla="*/ 1809 h 3237"/>
                  <a:gd name="T52" fmla="*/ 2769 w 3237"/>
                  <a:gd name="T53" fmla="*/ 1678 h 3237"/>
                  <a:gd name="T54" fmla="*/ 2846 w 3237"/>
                  <a:gd name="T55" fmla="*/ 1542 h 3237"/>
                  <a:gd name="T56" fmla="*/ 2919 w 3237"/>
                  <a:gd name="T57" fmla="*/ 1404 h 3237"/>
                  <a:gd name="T58" fmla="*/ 2982 w 3237"/>
                  <a:gd name="T59" fmla="*/ 1260 h 3237"/>
                  <a:gd name="T60" fmla="*/ 3041 w 3237"/>
                  <a:gd name="T61" fmla="*/ 1112 h 3237"/>
                  <a:gd name="T62" fmla="*/ 3091 w 3237"/>
                  <a:gd name="T63" fmla="*/ 962 h 3237"/>
                  <a:gd name="T64" fmla="*/ 3136 w 3237"/>
                  <a:gd name="T65" fmla="*/ 808 h 3237"/>
                  <a:gd name="T66" fmla="*/ 3172 w 3237"/>
                  <a:gd name="T67" fmla="*/ 651 h 3237"/>
                  <a:gd name="T68" fmla="*/ 3187 w 3237"/>
                  <a:gd name="T69" fmla="*/ 572 h 3237"/>
                  <a:gd name="T70" fmla="*/ 3199 w 3237"/>
                  <a:gd name="T71" fmla="*/ 492 h 3237"/>
                  <a:gd name="T72" fmla="*/ 3210 w 3237"/>
                  <a:gd name="T73" fmla="*/ 411 h 3237"/>
                  <a:gd name="T74" fmla="*/ 3220 w 3237"/>
                  <a:gd name="T75" fmla="*/ 330 h 3237"/>
                  <a:gd name="T76" fmla="*/ 3228 w 3237"/>
                  <a:gd name="T77" fmla="*/ 248 h 3237"/>
                  <a:gd name="T78" fmla="*/ 3233 w 3237"/>
                  <a:gd name="T79" fmla="*/ 165 h 3237"/>
                  <a:gd name="T80" fmla="*/ 3235 w 3237"/>
                  <a:gd name="T81" fmla="*/ 83 h 3237"/>
                  <a:gd name="T82" fmla="*/ 3237 w 3237"/>
                  <a:gd name="T83" fmla="*/ 0 h 3237"/>
                  <a:gd name="T84" fmla="*/ 0 w 3237"/>
                  <a:gd name="T85"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7">
                    <a:moveTo>
                      <a:pt x="0" y="0"/>
                    </a:moveTo>
                    <a:lnTo>
                      <a:pt x="0" y="3237"/>
                    </a:lnTo>
                    <a:lnTo>
                      <a:pt x="83" y="3235"/>
                    </a:lnTo>
                    <a:lnTo>
                      <a:pt x="165" y="3232"/>
                    </a:lnTo>
                    <a:lnTo>
                      <a:pt x="248" y="3228"/>
                    </a:lnTo>
                    <a:lnTo>
                      <a:pt x="330" y="3220"/>
                    </a:lnTo>
                    <a:lnTo>
                      <a:pt x="411" y="3210"/>
                    </a:lnTo>
                    <a:lnTo>
                      <a:pt x="492" y="3199"/>
                    </a:lnTo>
                    <a:lnTo>
                      <a:pt x="572" y="3185"/>
                    </a:lnTo>
                    <a:lnTo>
                      <a:pt x="651" y="3170"/>
                    </a:lnTo>
                    <a:lnTo>
                      <a:pt x="808" y="3136"/>
                    </a:lnTo>
                    <a:lnTo>
                      <a:pt x="962" y="3091"/>
                    </a:lnTo>
                    <a:lnTo>
                      <a:pt x="1112" y="3039"/>
                    </a:lnTo>
                    <a:lnTo>
                      <a:pt x="1260" y="2982"/>
                    </a:lnTo>
                    <a:lnTo>
                      <a:pt x="1404" y="2917"/>
                    </a:lnTo>
                    <a:lnTo>
                      <a:pt x="1542" y="2846"/>
                    </a:lnTo>
                    <a:lnTo>
                      <a:pt x="1678" y="2769"/>
                    </a:lnTo>
                    <a:lnTo>
                      <a:pt x="1809" y="2684"/>
                    </a:lnTo>
                    <a:lnTo>
                      <a:pt x="1937" y="2594"/>
                    </a:lnTo>
                    <a:lnTo>
                      <a:pt x="2058" y="2498"/>
                    </a:lnTo>
                    <a:lnTo>
                      <a:pt x="2175" y="2396"/>
                    </a:lnTo>
                    <a:lnTo>
                      <a:pt x="2289" y="2289"/>
                    </a:lnTo>
                    <a:lnTo>
                      <a:pt x="2396" y="2175"/>
                    </a:lnTo>
                    <a:lnTo>
                      <a:pt x="2498" y="2058"/>
                    </a:lnTo>
                    <a:lnTo>
                      <a:pt x="2594" y="1935"/>
                    </a:lnTo>
                    <a:lnTo>
                      <a:pt x="2684" y="1809"/>
                    </a:lnTo>
                    <a:lnTo>
                      <a:pt x="2769" y="1678"/>
                    </a:lnTo>
                    <a:lnTo>
                      <a:pt x="2846" y="1542"/>
                    </a:lnTo>
                    <a:lnTo>
                      <a:pt x="2919" y="1404"/>
                    </a:lnTo>
                    <a:lnTo>
                      <a:pt x="2982" y="1260"/>
                    </a:lnTo>
                    <a:lnTo>
                      <a:pt x="3041" y="1112"/>
                    </a:lnTo>
                    <a:lnTo>
                      <a:pt x="3091" y="962"/>
                    </a:lnTo>
                    <a:lnTo>
                      <a:pt x="3136" y="808"/>
                    </a:lnTo>
                    <a:lnTo>
                      <a:pt x="3172" y="651"/>
                    </a:lnTo>
                    <a:lnTo>
                      <a:pt x="3187" y="572"/>
                    </a:lnTo>
                    <a:lnTo>
                      <a:pt x="3199" y="492"/>
                    </a:lnTo>
                    <a:lnTo>
                      <a:pt x="3210" y="411"/>
                    </a:lnTo>
                    <a:lnTo>
                      <a:pt x="3220" y="330"/>
                    </a:lnTo>
                    <a:lnTo>
                      <a:pt x="3228" y="248"/>
                    </a:lnTo>
                    <a:lnTo>
                      <a:pt x="3233" y="165"/>
                    </a:lnTo>
                    <a:lnTo>
                      <a:pt x="3235" y="83"/>
                    </a:lnTo>
                    <a:lnTo>
                      <a:pt x="3237" y="0"/>
                    </a:lnTo>
                    <a:lnTo>
                      <a:pt x="0" y="0"/>
                    </a:lnTo>
                    <a:close/>
                  </a:path>
                </a:pathLst>
              </a:custGeom>
              <a:solidFill>
                <a:srgbClr val="BE38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5" name="Freeform 7">
                <a:extLst>
                  <a:ext uri="{FF2B5EF4-FFF2-40B4-BE49-F238E27FC236}">
                    <a16:creationId xmlns:a16="http://schemas.microsoft.com/office/drawing/2014/main" id="{1C6B92D3-7AAD-B274-D0DA-E21E670E1384}"/>
                  </a:ext>
                </a:extLst>
              </p:cNvPr>
              <p:cNvSpPr>
                <a:spLocks/>
              </p:cNvSpPr>
              <p:nvPr/>
            </p:nvSpPr>
            <p:spPr bwMode="auto">
              <a:xfrm>
                <a:off x="4595297" y="3428951"/>
                <a:ext cx="1500422" cy="1501350"/>
              </a:xfrm>
              <a:custGeom>
                <a:avLst/>
                <a:gdLst>
                  <a:gd name="T0" fmla="*/ 3237 w 3237"/>
                  <a:gd name="T1" fmla="*/ 0 h 3237"/>
                  <a:gd name="T2" fmla="*/ 0 w 3237"/>
                  <a:gd name="T3" fmla="*/ 0 h 3237"/>
                  <a:gd name="T4" fmla="*/ 0 w 3237"/>
                  <a:gd name="T5" fmla="*/ 83 h 3237"/>
                  <a:gd name="T6" fmla="*/ 3 w 3237"/>
                  <a:gd name="T7" fmla="*/ 165 h 3237"/>
                  <a:gd name="T8" fmla="*/ 9 w 3237"/>
                  <a:gd name="T9" fmla="*/ 248 h 3237"/>
                  <a:gd name="T10" fmla="*/ 15 w 3237"/>
                  <a:gd name="T11" fmla="*/ 330 h 3237"/>
                  <a:gd name="T12" fmla="*/ 25 w 3237"/>
                  <a:gd name="T13" fmla="*/ 411 h 3237"/>
                  <a:gd name="T14" fmla="*/ 36 w 3237"/>
                  <a:gd name="T15" fmla="*/ 492 h 3237"/>
                  <a:gd name="T16" fmla="*/ 50 w 3237"/>
                  <a:gd name="T17" fmla="*/ 572 h 3237"/>
                  <a:gd name="T18" fmla="*/ 65 w 3237"/>
                  <a:gd name="T19" fmla="*/ 651 h 3237"/>
                  <a:gd name="T20" fmla="*/ 101 w 3237"/>
                  <a:gd name="T21" fmla="*/ 808 h 3237"/>
                  <a:gd name="T22" fmla="*/ 144 w 3237"/>
                  <a:gd name="T23" fmla="*/ 962 h 3237"/>
                  <a:gd name="T24" fmla="*/ 195 w 3237"/>
                  <a:gd name="T25" fmla="*/ 1112 h 3237"/>
                  <a:gd name="T26" fmla="*/ 253 w 3237"/>
                  <a:gd name="T27" fmla="*/ 1260 h 3237"/>
                  <a:gd name="T28" fmla="*/ 318 w 3237"/>
                  <a:gd name="T29" fmla="*/ 1404 h 3237"/>
                  <a:gd name="T30" fmla="*/ 389 w 3237"/>
                  <a:gd name="T31" fmla="*/ 1542 h 3237"/>
                  <a:gd name="T32" fmla="*/ 468 w 3237"/>
                  <a:gd name="T33" fmla="*/ 1678 h 3237"/>
                  <a:gd name="T34" fmla="*/ 553 w 3237"/>
                  <a:gd name="T35" fmla="*/ 1809 h 3237"/>
                  <a:gd name="T36" fmla="*/ 643 w 3237"/>
                  <a:gd name="T37" fmla="*/ 1935 h 3237"/>
                  <a:gd name="T38" fmla="*/ 739 w 3237"/>
                  <a:gd name="T39" fmla="*/ 2058 h 3237"/>
                  <a:gd name="T40" fmla="*/ 841 w 3237"/>
                  <a:gd name="T41" fmla="*/ 2175 h 3237"/>
                  <a:gd name="T42" fmla="*/ 946 w 3237"/>
                  <a:gd name="T43" fmla="*/ 2289 h 3237"/>
                  <a:gd name="T44" fmla="*/ 1060 w 3237"/>
                  <a:gd name="T45" fmla="*/ 2396 h 3237"/>
                  <a:gd name="T46" fmla="*/ 1177 w 3237"/>
                  <a:gd name="T47" fmla="*/ 2498 h 3237"/>
                  <a:gd name="T48" fmla="*/ 1300 w 3237"/>
                  <a:gd name="T49" fmla="*/ 2594 h 3237"/>
                  <a:gd name="T50" fmla="*/ 1426 w 3237"/>
                  <a:gd name="T51" fmla="*/ 2684 h 3237"/>
                  <a:gd name="T52" fmla="*/ 1557 w 3237"/>
                  <a:gd name="T53" fmla="*/ 2769 h 3237"/>
                  <a:gd name="T54" fmla="*/ 1693 w 3237"/>
                  <a:gd name="T55" fmla="*/ 2846 h 3237"/>
                  <a:gd name="T56" fmla="*/ 1833 w 3237"/>
                  <a:gd name="T57" fmla="*/ 2917 h 3237"/>
                  <a:gd name="T58" fmla="*/ 1975 w 3237"/>
                  <a:gd name="T59" fmla="*/ 2982 h 3237"/>
                  <a:gd name="T60" fmla="*/ 2123 w 3237"/>
                  <a:gd name="T61" fmla="*/ 3039 h 3237"/>
                  <a:gd name="T62" fmla="*/ 2273 w 3237"/>
                  <a:gd name="T63" fmla="*/ 3091 h 3237"/>
                  <a:gd name="T64" fmla="*/ 2427 w 3237"/>
                  <a:gd name="T65" fmla="*/ 3136 h 3237"/>
                  <a:gd name="T66" fmla="*/ 2584 w 3237"/>
                  <a:gd name="T67" fmla="*/ 3170 h 3237"/>
                  <a:gd name="T68" fmla="*/ 2663 w 3237"/>
                  <a:gd name="T69" fmla="*/ 3185 h 3237"/>
                  <a:gd name="T70" fmla="*/ 2743 w 3237"/>
                  <a:gd name="T71" fmla="*/ 3199 h 3237"/>
                  <a:gd name="T72" fmla="*/ 2824 w 3237"/>
                  <a:gd name="T73" fmla="*/ 3210 h 3237"/>
                  <a:gd name="T74" fmla="*/ 2905 w 3237"/>
                  <a:gd name="T75" fmla="*/ 3220 h 3237"/>
                  <a:gd name="T76" fmla="*/ 2987 w 3237"/>
                  <a:gd name="T77" fmla="*/ 3228 h 3237"/>
                  <a:gd name="T78" fmla="*/ 3070 w 3237"/>
                  <a:gd name="T79" fmla="*/ 3233 h 3237"/>
                  <a:gd name="T80" fmla="*/ 3152 w 3237"/>
                  <a:gd name="T81" fmla="*/ 3235 h 3237"/>
                  <a:gd name="T82" fmla="*/ 3237 w 3237"/>
                  <a:gd name="T83" fmla="*/ 3237 h 3237"/>
                  <a:gd name="T84" fmla="*/ 3237 w 3237"/>
                  <a:gd name="T85" fmla="*/ 3237 h 3237"/>
                  <a:gd name="T86" fmla="*/ 3237 w 3237"/>
                  <a:gd name="T87"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3237" y="0"/>
                    </a:moveTo>
                    <a:lnTo>
                      <a:pt x="0" y="0"/>
                    </a:lnTo>
                    <a:lnTo>
                      <a:pt x="0" y="83"/>
                    </a:lnTo>
                    <a:lnTo>
                      <a:pt x="3" y="165"/>
                    </a:lnTo>
                    <a:lnTo>
                      <a:pt x="9" y="248"/>
                    </a:lnTo>
                    <a:lnTo>
                      <a:pt x="15" y="330"/>
                    </a:lnTo>
                    <a:lnTo>
                      <a:pt x="25" y="411"/>
                    </a:lnTo>
                    <a:lnTo>
                      <a:pt x="36" y="492"/>
                    </a:lnTo>
                    <a:lnTo>
                      <a:pt x="50" y="572"/>
                    </a:lnTo>
                    <a:lnTo>
                      <a:pt x="65" y="651"/>
                    </a:lnTo>
                    <a:lnTo>
                      <a:pt x="101" y="808"/>
                    </a:lnTo>
                    <a:lnTo>
                      <a:pt x="144" y="962"/>
                    </a:lnTo>
                    <a:lnTo>
                      <a:pt x="195" y="1112"/>
                    </a:lnTo>
                    <a:lnTo>
                      <a:pt x="253" y="1260"/>
                    </a:lnTo>
                    <a:lnTo>
                      <a:pt x="318" y="1404"/>
                    </a:lnTo>
                    <a:lnTo>
                      <a:pt x="389" y="1542"/>
                    </a:lnTo>
                    <a:lnTo>
                      <a:pt x="468" y="1678"/>
                    </a:lnTo>
                    <a:lnTo>
                      <a:pt x="553" y="1809"/>
                    </a:lnTo>
                    <a:lnTo>
                      <a:pt x="643" y="1935"/>
                    </a:lnTo>
                    <a:lnTo>
                      <a:pt x="739" y="2058"/>
                    </a:lnTo>
                    <a:lnTo>
                      <a:pt x="841" y="2175"/>
                    </a:lnTo>
                    <a:lnTo>
                      <a:pt x="946" y="2289"/>
                    </a:lnTo>
                    <a:lnTo>
                      <a:pt x="1060" y="2396"/>
                    </a:lnTo>
                    <a:lnTo>
                      <a:pt x="1177" y="2498"/>
                    </a:lnTo>
                    <a:lnTo>
                      <a:pt x="1300" y="2594"/>
                    </a:lnTo>
                    <a:lnTo>
                      <a:pt x="1426" y="2684"/>
                    </a:lnTo>
                    <a:lnTo>
                      <a:pt x="1557" y="2769"/>
                    </a:lnTo>
                    <a:lnTo>
                      <a:pt x="1693" y="2846"/>
                    </a:lnTo>
                    <a:lnTo>
                      <a:pt x="1833" y="2917"/>
                    </a:lnTo>
                    <a:lnTo>
                      <a:pt x="1975" y="2982"/>
                    </a:lnTo>
                    <a:lnTo>
                      <a:pt x="2123" y="3039"/>
                    </a:lnTo>
                    <a:lnTo>
                      <a:pt x="2273" y="3091"/>
                    </a:lnTo>
                    <a:lnTo>
                      <a:pt x="2427" y="3136"/>
                    </a:lnTo>
                    <a:lnTo>
                      <a:pt x="2584" y="3170"/>
                    </a:lnTo>
                    <a:lnTo>
                      <a:pt x="2663" y="3185"/>
                    </a:lnTo>
                    <a:lnTo>
                      <a:pt x="2743" y="3199"/>
                    </a:lnTo>
                    <a:lnTo>
                      <a:pt x="2824" y="3210"/>
                    </a:lnTo>
                    <a:lnTo>
                      <a:pt x="2905" y="3220"/>
                    </a:lnTo>
                    <a:lnTo>
                      <a:pt x="2987" y="3228"/>
                    </a:lnTo>
                    <a:lnTo>
                      <a:pt x="3070" y="3233"/>
                    </a:lnTo>
                    <a:lnTo>
                      <a:pt x="3152" y="3235"/>
                    </a:lnTo>
                    <a:lnTo>
                      <a:pt x="3237" y="3237"/>
                    </a:lnTo>
                    <a:lnTo>
                      <a:pt x="3237" y="3237"/>
                    </a:lnTo>
                    <a:lnTo>
                      <a:pt x="3237" y="0"/>
                    </a:lnTo>
                    <a:close/>
                  </a:path>
                </a:pathLst>
              </a:custGeom>
              <a:solidFill>
                <a:srgbClr val="633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6" name="Freeform 8">
                <a:extLst>
                  <a:ext uri="{FF2B5EF4-FFF2-40B4-BE49-F238E27FC236}">
                    <a16:creationId xmlns:a16="http://schemas.microsoft.com/office/drawing/2014/main" id="{4C4A3E5C-4144-DF7C-133B-5FF82311655C}"/>
                  </a:ext>
                </a:extLst>
              </p:cNvPr>
              <p:cNvSpPr>
                <a:spLocks/>
              </p:cNvSpPr>
              <p:nvPr/>
            </p:nvSpPr>
            <p:spPr bwMode="auto">
              <a:xfrm>
                <a:off x="4595297" y="1926675"/>
                <a:ext cx="1500422" cy="1502277"/>
              </a:xfrm>
              <a:custGeom>
                <a:avLst/>
                <a:gdLst>
                  <a:gd name="T0" fmla="*/ 3237 w 3237"/>
                  <a:gd name="T1" fmla="*/ 3239 h 3239"/>
                  <a:gd name="T2" fmla="*/ 3237 w 3237"/>
                  <a:gd name="T3" fmla="*/ 0 h 3239"/>
                  <a:gd name="T4" fmla="*/ 3152 w 3237"/>
                  <a:gd name="T5" fmla="*/ 2 h 3239"/>
                  <a:gd name="T6" fmla="*/ 3070 w 3237"/>
                  <a:gd name="T7" fmla="*/ 5 h 3239"/>
                  <a:gd name="T8" fmla="*/ 2987 w 3237"/>
                  <a:gd name="T9" fmla="*/ 9 h 3239"/>
                  <a:gd name="T10" fmla="*/ 2905 w 3237"/>
                  <a:gd name="T11" fmla="*/ 17 h 3239"/>
                  <a:gd name="T12" fmla="*/ 2824 w 3237"/>
                  <a:gd name="T13" fmla="*/ 27 h 3239"/>
                  <a:gd name="T14" fmla="*/ 2743 w 3237"/>
                  <a:gd name="T15" fmla="*/ 38 h 3239"/>
                  <a:gd name="T16" fmla="*/ 2663 w 3237"/>
                  <a:gd name="T17" fmla="*/ 52 h 3239"/>
                  <a:gd name="T18" fmla="*/ 2584 w 3237"/>
                  <a:gd name="T19" fmla="*/ 67 h 3239"/>
                  <a:gd name="T20" fmla="*/ 2427 w 3237"/>
                  <a:gd name="T21" fmla="*/ 103 h 3239"/>
                  <a:gd name="T22" fmla="*/ 2273 w 3237"/>
                  <a:gd name="T23" fmla="*/ 146 h 3239"/>
                  <a:gd name="T24" fmla="*/ 2123 w 3237"/>
                  <a:gd name="T25" fmla="*/ 198 h 3239"/>
                  <a:gd name="T26" fmla="*/ 1975 w 3237"/>
                  <a:gd name="T27" fmla="*/ 255 h 3239"/>
                  <a:gd name="T28" fmla="*/ 1833 w 3237"/>
                  <a:gd name="T29" fmla="*/ 320 h 3239"/>
                  <a:gd name="T30" fmla="*/ 1693 w 3237"/>
                  <a:gd name="T31" fmla="*/ 391 h 3239"/>
                  <a:gd name="T32" fmla="*/ 1557 w 3237"/>
                  <a:gd name="T33" fmla="*/ 470 h 3239"/>
                  <a:gd name="T34" fmla="*/ 1426 w 3237"/>
                  <a:gd name="T35" fmla="*/ 553 h 3239"/>
                  <a:gd name="T36" fmla="*/ 1300 w 3237"/>
                  <a:gd name="T37" fmla="*/ 643 h 3239"/>
                  <a:gd name="T38" fmla="*/ 1177 w 3237"/>
                  <a:gd name="T39" fmla="*/ 739 h 3239"/>
                  <a:gd name="T40" fmla="*/ 1060 w 3237"/>
                  <a:gd name="T41" fmla="*/ 841 h 3239"/>
                  <a:gd name="T42" fmla="*/ 946 w 3237"/>
                  <a:gd name="T43" fmla="*/ 948 h 3239"/>
                  <a:gd name="T44" fmla="*/ 841 w 3237"/>
                  <a:gd name="T45" fmla="*/ 1062 h 3239"/>
                  <a:gd name="T46" fmla="*/ 739 w 3237"/>
                  <a:gd name="T47" fmla="*/ 1179 h 3239"/>
                  <a:gd name="T48" fmla="*/ 643 w 3237"/>
                  <a:gd name="T49" fmla="*/ 1302 h 3239"/>
                  <a:gd name="T50" fmla="*/ 553 w 3237"/>
                  <a:gd name="T51" fmla="*/ 1428 h 3239"/>
                  <a:gd name="T52" fmla="*/ 468 w 3237"/>
                  <a:gd name="T53" fmla="*/ 1559 h 3239"/>
                  <a:gd name="T54" fmla="*/ 389 w 3237"/>
                  <a:gd name="T55" fmla="*/ 1695 h 3239"/>
                  <a:gd name="T56" fmla="*/ 318 w 3237"/>
                  <a:gd name="T57" fmla="*/ 1835 h 3239"/>
                  <a:gd name="T58" fmla="*/ 253 w 3237"/>
                  <a:gd name="T59" fmla="*/ 1977 h 3239"/>
                  <a:gd name="T60" fmla="*/ 195 w 3237"/>
                  <a:gd name="T61" fmla="*/ 2125 h 3239"/>
                  <a:gd name="T62" fmla="*/ 144 w 3237"/>
                  <a:gd name="T63" fmla="*/ 2275 h 3239"/>
                  <a:gd name="T64" fmla="*/ 101 w 3237"/>
                  <a:gd name="T65" fmla="*/ 2429 h 3239"/>
                  <a:gd name="T66" fmla="*/ 65 w 3237"/>
                  <a:gd name="T67" fmla="*/ 2586 h 3239"/>
                  <a:gd name="T68" fmla="*/ 50 w 3237"/>
                  <a:gd name="T69" fmla="*/ 2665 h 3239"/>
                  <a:gd name="T70" fmla="*/ 36 w 3237"/>
                  <a:gd name="T71" fmla="*/ 2745 h 3239"/>
                  <a:gd name="T72" fmla="*/ 25 w 3237"/>
                  <a:gd name="T73" fmla="*/ 2826 h 3239"/>
                  <a:gd name="T74" fmla="*/ 15 w 3237"/>
                  <a:gd name="T75" fmla="*/ 2907 h 3239"/>
                  <a:gd name="T76" fmla="*/ 9 w 3237"/>
                  <a:gd name="T77" fmla="*/ 2989 h 3239"/>
                  <a:gd name="T78" fmla="*/ 3 w 3237"/>
                  <a:gd name="T79" fmla="*/ 3072 h 3239"/>
                  <a:gd name="T80" fmla="*/ 0 w 3237"/>
                  <a:gd name="T81" fmla="*/ 3154 h 3239"/>
                  <a:gd name="T82" fmla="*/ 0 w 3237"/>
                  <a:gd name="T83" fmla="*/ 3239 h 3239"/>
                  <a:gd name="T84" fmla="*/ 3237 w 3237"/>
                  <a:gd name="T85" fmla="*/ 3239 h 3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9">
                    <a:moveTo>
                      <a:pt x="3237" y="3239"/>
                    </a:moveTo>
                    <a:lnTo>
                      <a:pt x="3237" y="0"/>
                    </a:lnTo>
                    <a:lnTo>
                      <a:pt x="3152" y="2"/>
                    </a:lnTo>
                    <a:lnTo>
                      <a:pt x="3070" y="5"/>
                    </a:lnTo>
                    <a:lnTo>
                      <a:pt x="2987" y="9"/>
                    </a:lnTo>
                    <a:lnTo>
                      <a:pt x="2905" y="17"/>
                    </a:lnTo>
                    <a:lnTo>
                      <a:pt x="2824" y="27"/>
                    </a:lnTo>
                    <a:lnTo>
                      <a:pt x="2743" y="38"/>
                    </a:lnTo>
                    <a:lnTo>
                      <a:pt x="2663" y="52"/>
                    </a:lnTo>
                    <a:lnTo>
                      <a:pt x="2584" y="67"/>
                    </a:lnTo>
                    <a:lnTo>
                      <a:pt x="2427" y="103"/>
                    </a:lnTo>
                    <a:lnTo>
                      <a:pt x="2273" y="146"/>
                    </a:lnTo>
                    <a:lnTo>
                      <a:pt x="2123" y="198"/>
                    </a:lnTo>
                    <a:lnTo>
                      <a:pt x="1975" y="255"/>
                    </a:lnTo>
                    <a:lnTo>
                      <a:pt x="1833" y="320"/>
                    </a:lnTo>
                    <a:lnTo>
                      <a:pt x="1693" y="391"/>
                    </a:lnTo>
                    <a:lnTo>
                      <a:pt x="1557" y="470"/>
                    </a:lnTo>
                    <a:lnTo>
                      <a:pt x="1426" y="553"/>
                    </a:lnTo>
                    <a:lnTo>
                      <a:pt x="1300" y="643"/>
                    </a:lnTo>
                    <a:lnTo>
                      <a:pt x="1177" y="739"/>
                    </a:lnTo>
                    <a:lnTo>
                      <a:pt x="1060" y="841"/>
                    </a:lnTo>
                    <a:lnTo>
                      <a:pt x="946" y="948"/>
                    </a:lnTo>
                    <a:lnTo>
                      <a:pt x="841" y="1062"/>
                    </a:lnTo>
                    <a:lnTo>
                      <a:pt x="739" y="1179"/>
                    </a:lnTo>
                    <a:lnTo>
                      <a:pt x="643" y="1302"/>
                    </a:lnTo>
                    <a:lnTo>
                      <a:pt x="553" y="1428"/>
                    </a:lnTo>
                    <a:lnTo>
                      <a:pt x="468" y="1559"/>
                    </a:lnTo>
                    <a:lnTo>
                      <a:pt x="389" y="1695"/>
                    </a:lnTo>
                    <a:lnTo>
                      <a:pt x="318" y="1835"/>
                    </a:lnTo>
                    <a:lnTo>
                      <a:pt x="253" y="1977"/>
                    </a:lnTo>
                    <a:lnTo>
                      <a:pt x="195" y="2125"/>
                    </a:lnTo>
                    <a:lnTo>
                      <a:pt x="144" y="2275"/>
                    </a:lnTo>
                    <a:lnTo>
                      <a:pt x="101" y="2429"/>
                    </a:lnTo>
                    <a:lnTo>
                      <a:pt x="65" y="2586"/>
                    </a:lnTo>
                    <a:lnTo>
                      <a:pt x="50" y="2665"/>
                    </a:lnTo>
                    <a:lnTo>
                      <a:pt x="36" y="2745"/>
                    </a:lnTo>
                    <a:lnTo>
                      <a:pt x="25" y="2826"/>
                    </a:lnTo>
                    <a:lnTo>
                      <a:pt x="15" y="2907"/>
                    </a:lnTo>
                    <a:lnTo>
                      <a:pt x="9" y="2989"/>
                    </a:lnTo>
                    <a:lnTo>
                      <a:pt x="3" y="3072"/>
                    </a:lnTo>
                    <a:lnTo>
                      <a:pt x="0" y="3154"/>
                    </a:lnTo>
                    <a:lnTo>
                      <a:pt x="0" y="3239"/>
                    </a:lnTo>
                    <a:lnTo>
                      <a:pt x="3237" y="3239"/>
                    </a:lnTo>
                    <a:close/>
                  </a:path>
                </a:pathLst>
              </a:custGeom>
              <a:solidFill>
                <a:srgbClr val="237D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7" name="Freeform 44">
                <a:extLst>
                  <a:ext uri="{FF2B5EF4-FFF2-40B4-BE49-F238E27FC236}">
                    <a16:creationId xmlns:a16="http://schemas.microsoft.com/office/drawing/2014/main" id="{E9E5F1A8-0858-F72E-BBDB-2FB1D810E301}"/>
                  </a:ext>
                </a:extLst>
              </p:cNvPr>
              <p:cNvSpPr/>
              <p:nvPr/>
            </p:nvSpPr>
            <p:spPr>
              <a:xfrm>
                <a:off x="6095718" y="1926902"/>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15AA96">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8" name="Freeform 48">
                <a:extLst>
                  <a:ext uri="{FF2B5EF4-FFF2-40B4-BE49-F238E27FC236}">
                    <a16:creationId xmlns:a16="http://schemas.microsoft.com/office/drawing/2014/main" id="{480C34DE-C161-E1F3-C705-BEE4B63E1DDF}"/>
                  </a:ext>
                </a:extLst>
              </p:cNvPr>
              <p:cNvSpPr/>
              <p:nvPr/>
            </p:nvSpPr>
            <p:spPr>
              <a:xfrm rot="16200000">
                <a:off x="5251934" y="2584732"/>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237DB9">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9" name="Freeform 50">
                <a:extLst>
                  <a:ext uri="{FF2B5EF4-FFF2-40B4-BE49-F238E27FC236}">
                    <a16:creationId xmlns:a16="http://schemas.microsoft.com/office/drawing/2014/main" id="{F773990F-45CF-C233-B11A-4C4FBFFF3B86}"/>
                  </a:ext>
                </a:extLst>
              </p:cNvPr>
              <p:cNvSpPr/>
              <p:nvPr/>
            </p:nvSpPr>
            <p:spPr>
              <a:xfrm rot="10800000">
                <a:off x="5909763" y="3428516"/>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633247">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70" name="Freeform 52">
                <a:extLst>
                  <a:ext uri="{FF2B5EF4-FFF2-40B4-BE49-F238E27FC236}">
                    <a16:creationId xmlns:a16="http://schemas.microsoft.com/office/drawing/2014/main" id="{5CCA3612-721A-52D4-5C27-DEA3EE79DB7C}"/>
                  </a:ext>
                </a:extLst>
              </p:cNvPr>
              <p:cNvSpPr/>
              <p:nvPr/>
            </p:nvSpPr>
            <p:spPr>
              <a:xfrm rot="5400000">
                <a:off x="6753548" y="2770686"/>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BE382C">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grpSp>
      </p:grpSp>
      <p:sp>
        <p:nvSpPr>
          <p:cNvPr id="33" name="Title 1">
            <a:extLst>
              <a:ext uri="{FF2B5EF4-FFF2-40B4-BE49-F238E27FC236}">
                <a16:creationId xmlns:a16="http://schemas.microsoft.com/office/drawing/2014/main" id="{6F4C463A-D6D6-1824-E896-4A27C055E6F2}"/>
              </a:ext>
            </a:extLst>
          </p:cNvPr>
          <p:cNvSpPr txBox="1">
            <a:spLocks/>
          </p:cNvSpPr>
          <p:nvPr/>
        </p:nvSpPr>
        <p:spPr>
          <a:xfrm>
            <a:off x="0" y="0"/>
            <a:ext cx="12192000" cy="1439470"/>
          </a:xfrm>
          <a:prstGeom prst="rect">
            <a:avLst/>
          </a:prstGeom>
          <a:solidFill>
            <a:schemeClr val="tx1">
              <a:alpha val="66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OUR PROJECT MANAGEMENT MODEL</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6" name="TextBox 5">
            <a:extLst>
              <a:ext uri="{FF2B5EF4-FFF2-40B4-BE49-F238E27FC236}">
                <a16:creationId xmlns:a16="http://schemas.microsoft.com/office/drawing/2014/main" id="{09537E89-3342-3054-0967-3F798ADBE820}"/>
              </a:ext>
            </a:extLst>
          </p:cNvPr>
          <p:cNvSpPr txBox="1"/>
          <p:nvPr/>
        </p:nvSpPr>
        <p:spPr>
          <a:xfrm>
            <a:off x="360650" y="1919974"/>
            <a:ext cx="5338857" cy="3924151"/>
          </a:xfrm>
          <a:prstGeom prst="rect">
            <a:avLst/>
          </a:prstGeom>
          <a:noFill/>
        </p:spPr>
        <p:txBody>
          <a:bodyPr wrap="square" lIns="91440" tIns="45720" rIns="91440" bIns="45720" rtlCol="0" anchor="t">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GRC360’s project management approach is based upon four-step model PDCA (Plan, Do, Check, Act), which is a powerful method for implementing continual development and issue solving:</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Plan</a:t>
            </a:r>
            <a:r>
              <a:rPr kumimoji="0" lang="en-US" sz="1800" b="0" i="0" u="sng" strike="noStrike" kern="1200" cap="none" spc="0" normalizeH="0" baseline="0" noProof="0">
                <a:ln>
                  <a:noFill/>
                </a:ln>
                <a:solidFill>
                  <a:srgbClr val="000000"/>
                </a:solidFill>
                <a:effectLst/>
                <a:uLnTx/>
                <a:uFillTx/>
                <a:latin typeface="Calibri"/>
                <a:ea typeface="+mn-ea"/>
                <a:cs typeface="+mn-cs"/>
              </a:rPr>
              <a:t>n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identification of problem, and establishment of goals and target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Do</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plan execution, and development and implementation of potential solution(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Check</a:t>
            </a:r>
            <a:r>
              <a:rPr kumimoji="0" lang="en-US" sz="1800" b="0" i="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measures of the effectiveness of a solution by studying the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Act</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adjustment to achieve the intended results.</a:t>
            </a:r>
          </a:p>
        </p:txBody>
      </p:sp>
      <p:sp>
        <p:nvSpPr>
          <p:cNvPr id="16" name="Freeform: Shape 15">
            <a:extLst>
              <a:ext uri="{FF2B5EF4-FFF2-40B4-BE49-F238E27FC236}">
                <a16:creationId xmlns:a16="http://schemas.microsoft.com/office/drawing/2014/main" id="{35475196-DCE2-B093-0E14-626D7FA42299}"/>
              </a:ext>
            </a:extLst>
          </p:cNvPr>
          <p:cNvSpPr/>
          <p:nvPr/>
        </p:nvSpPr>
        <p:spPr>
          <a:xfrm>
            <a:off x="6427668"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237DB9">
              <a:hueOff val="0"/>
              <a:satOff val="0"/>
              <a:lumOff val="0"/>
              <a:alphaOff val="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20" name="Freeform: Shape 19">
            <a:extLst>
              <a:ext uri="{FF2B5EF4-FFF2-40B4-BE49-F238E27FC236}">
                <a16:creationId xmlns:a16="http://schemas.microsoft.com/office/drawing/2014/main" id="{F59BBD1E-6DE1-F99C-9875-3BB459E4A7CB}"/>
              </a:ext>
            </a:extLst>
          </p:cNvPr>
          <p:cNvSpPr/>
          <p:nvPr/>
        </p:nvSpPr>
        <p:spPr>
          <a:xfrm>
            <a:off x="6615383"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29" name="Graphic 28" descr="Blueprint with solid fill">
            <a:extLst>
              <a:ext uri="{FF2B5EF4-FFF2-40B4-BE49-F238E27FC236}">
                <a16:creationId xmlns:a16="http://schemas.microsoft.com/office/drawing/2014/main" id="{D29BB8DC-95E6-9F50-41D1-DA3DEF9CE24D}"/>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864586" y="2348071"/>
            <a:ext cx="914400" cy="914400"/>
          </a:xfrm>
          <a:prstGeom prst="rect">
            <a:avLst/>
          </a:prstGeom>
        </p:spPr>
      </p:pic>
      <p:sp>
        <p:nvSpPr>
          <p:cNvPr id="43" name="Freeform: Shape 42">
            <a:extLst>
              <a:ext uri="{FF2B5EF4-FFF2-40B4-BE49-F238E27FC236}">
                <a16:creationId xmlns:a16="http://schemas.microsoft.com/office/drawing/2014/main" id="{58C0BA61-5226-873E-9EF2-2DFED46C4675}"/>
              </a:ext>
            </a:extLst>
          </p:cNvPr>
          <p:cNvSpPr/>
          <p:nvPr/>
        </p:nvSpPr>
        <p:spPr>
          <a:xfrm>
            <a:off x="9200453"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118978"/>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4" name="Freeform: Shape 43">
            <a:extLst>
              <a:ext uri="{FF2B5EF4-FFF2-40B4-BE49-F238E27FC236}">
                <a16:creationId xmlns:a16="http://schemas.microsoft.com/office/drawing/2014/main" id="{FF9B3DDC-238C-86D3-ED99-A0D318A93C4A}"/>
              </a:ext>
            </a:extLst>
          </p:cNvPr>
          <p:cNvSpPr/>
          <p:nvPr/>
        </p:nvSpPr>
        <p:spPr>
          <a:xfrm>
            <a:off x="9388168"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5" name="Freeform: Shape 44">
            <a:extLst>
              <a:ext uri="{FF2B5EF4-FFF2-40B4-BE49-F238E27FC236}">
                <a16:creationId xmlns:a16="http://schemas.microsoft.com/office/drawing/2014/main" id="{EF578BB7-452E-CC5C-71D2-195B74FE58B5}"/>
              </a:ext>
            </a:extLst>
          </p:cNvPr>
          <p:cNvSpPr/>
          <p:nvPr/>
        </p:nvSpPr>
        <p:spPr>
          <a:xfrm>
            <a:off x="9200453" y="4307012"/>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BE382C"/>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6" name="Freeform: Shape 45">
            <a:extLst>
              <a:ext uri="{FF2B5EF4-FFF2-40B4-BE49-F238E27FC236}">
                <a16:creationId xmlns:a16="http://schemas.microsoft.com/office/drawing/2014/main" id="{4CF51261-F483-E1D9-A7B4-80571788610C}"/>
              </a:ext>
            </a:extLst>
          </p:cNvPr>
          <p:cNvSpPr/>
          <p:nvPr/>
        </p:nvSpPr>
        <p:spPr>
          <a:xfrm>
            <a:off x="9388168" y="4494723"/>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7" name="Freeform: Shape 46">
            <a:extLst>
              <a:ext uri="{FF2B5EF4-FFF2-40B4-BE49-F238E27FC236}">
                <a16:creationId xmlns:a16="http://schemas.microsoft.com/office/drawing/2014/main" id="{3AAEDAA1-1AE4-8D16-9691-5B0AF3EDBFD6}"/>
              </a:ext>
            </a:extLst>
          </p:cNvPr>
          <p:cNvSpPr/>
          <p:nvPr/>
        </p:nvSpPr>
        <p:spPr>
          <a:xfrm>
            <a:off x="6427668" y="427703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633247"/>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8" name="Freeform: Shape 47">
            <a:extLst>
              <a:ext uri="{FF2B5EF4-FFF2-40B4-BE49-F238E27FC236}">
                <a16:creationId xmlns:a16="http://schemas.microsoft.com/office/drawing/2014/main" id="{884A2D50-915B-257B-5648-8B4CF12B2E67}"/>
              </a:ext>
            </a:extLst>
          </p:cNvPr>
          <p:cNvSpPr/>
          <p:nvPr/>
        </p:nvSpPr>
        <p:spPr>
          <a:xfrm>
            <a:off x="6615383" y="446474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34" name="Graphic 33" descr="Clipboard Checked with solid fill">
            <a:extLst>
              <a:ext uri="{FF2B5EF4-FFF2-40B4-BE49-F238E27FC236}">
                <a16:creationId xmlns:a16="http://schemas.microsoft.com/office/drawing/2014/main" id="{D77F3FA3-FF46-4B99-6CDC-409294B61F07}"/>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73299" y="4779844"/>
            <a:ext cx="914400" cy="914400"/>
          </a:xfrm>
          <a:prstGeom prst="rect">
            <a:avLst/>
          </a:prstGeom>
        </p:spPr>
      </p:pic>
      <p:pic>
        <p:nvPicPr>
          <p:cNvPr id="50" name="Picture 49" descr="Icon&#10;&#10;Description automatically generated">
            <a:extLst>
              <a:ext uri="{FF2B5EF4-FFF2-40B4-BE49-F238E27FC236}">
                <a16:creationId xmlns:a16="http://schemas.microsoft.com/office/drawing/2014/main" id="{F64A0632-A9C7-0318-FD32-5FB1E6146CBB}"/>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6746817" y="4597630"/>
            <a:ext cx="1300321" cy="1300321"/>
          </a:xfrm>
          <a:prstGeom prst="rect">
            <a:avLst/>
          </a:prstGeom>
        </p:spPr>
      </p:pic>
      <p:grpSp>
        <p:nvGrpSpPr>
          <p:cNvPr id="11" name="Group 10">
            <a:extLst>
              <a:ext uri="{FF2B5EF4-FFF2-40B4-BE49-F238E27FC236}">
                <a16:creationId xmlns:a16="http://schemas.microsoft.com/office/drawing/2014/main" id="{A76FC40B-4422-D209-2327-90B95370E2B4}"/>
              </a:ext>
            </a:extLst>
          </p:cNvPr>
          <p:cNvGrpSpPr/>
          <p:nvPr/>
        </p:nvGrpSpPr>
        <p:grpSpPr>
          <a:xfrm>
            <a:off x="9656255" y="2377037"/>
            <a:ext cx="1058312" cy="1130927"/>
            <a:chOff x="5245490" y="1941868"/>
            <a:chExt cx="1058312" cy="1130927"/>
          </a:xfrm>
          <a:solidFill>
            <a:srgbClr val="118978"/>
          </a:solidFill>
        </p:grpSpPr>
        <p:pic>
          <p:nvPicPr>
            <p:cNvPr id="7" name="Graphic 6" descr="List with solid fill">
              <a:extLst>
                <a:ext uri="{FF2B5EF4-FFF2-40B4-BE49-F238E27FC236}">
                  <a16:creationId xmlns:a16="http://schemas.microsoft.com/office/drawing/2014/main" id="{FDC3326D-9F2C-40A4-4F6B-CF6C03FA8602}"/>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245490" y="1941868"/>
              <a:ext cx="914400" cy="914400"/>
            </a:xfrm>
            <a:prstGeom prst="rect">
              <a:avLst/>
            </a:prstGeom>
          </p:spPr>
        </p:pic>
        <p:grpSp>
          <p:nvGrpSpPr>
            <p:cNvPr id="10" name="Group 9">
              <a:extLst>
                <a:ext uri="{FF2B5EF4-FFF2-40B4-BE49-F238E27FC236}">
                  <a16:creationId xmlns:a16="http://schemas.microsoft.com/office/drawing/2014/main" id="{A75E64E8-011A-048D-722A-8D3BADE5FAA5}"/>
                </a:ext>
              </a:extLst>
            </p:cNvPr>
            <p:cNvGrpSpPr/>
            <p:nvPr/>
          </p:nvGrpSpPr>
          <p:grpSpPr>
            <a:xfrm>
              <a:off x="5627098" y="2396091"/>
              <a:ext cx="676704" cy="676704"/>
              <a:chOff x="5455779" y="3886431"/>
              <a:chExt cx="676704" cy="676704"/>
            </a:xfrm>
            <a:grpFill/>
          </p:grpSpPr>
          <p:sp>
            <p:nvSpPr>
              <p:cNvPr id="9" name="Oval 8">
                <a:extLst>
                  <a:ext uri="{FF2B5EF4-FFF2-40B4-BE49-F238E27FC236}">
                    <a16:creationId xmlns:a16="http://schemas.microsoft.com/office/drawing/2014/main" id="{9951A8C4-791F-70FE-29DC-7EC050FC7C03}"/>
                  </a:ext>
                </a:extLst>
              </p:cNvPr>
              <p:cNvSpPr/>
              <p:nvPr/>
            </p:nvSpPr>
            <p:spPr>
              <a:xfrm>
                <a:off x="5675047" y="4086125"/>
                <a:ext cx="282527" cy="28252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4" name="Graphic 3" descr="Single gear with solid fill">
                <a:extLst>
                  <a:ext uri="{FF2B5EF4-FFF2-40B4-BE49-F238E27FC236}">
                    <a16:creationId xmlns:a16="http://schemas.microsoft.com/office/drawing/2014/main" id="{59F34900-AC94-4585-30EF-0CD7F58A2379}"/>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455779" y="3886431"/>
                <a:ext cx="676704" cy="676704"/>
              </a:xfrm>
              <a:prstGeom prst="rect">
                <a:avLst/>
              </a:prstGeom>
            </p:spPr>
          </p:pic>
        </p:grpSp>
      </p:grpSp>
      <p:sp>
        <p:nvSpPr>
          <p:cNvPr id="25" name="Rectangle 24">
            <a:extLst>
              <a:ext uri="{FF2B5EF4-FFF2-40B4-BE49-F238E27FC236}">
                <a16:creationId xmlns:a16="http://schemas.microsoft.com/office/drawing/2014/main" id="{8A22FBD1-1F87-7761-80C5-048ADC3C9498}"/>
              </a:ext>
            </a:extLst>
          </p:cNvPr>
          <p:cNvSpPr/>
          <p:nvPr/>
        </p:nvSpPr>
        <p:spPr>
          <a:xfrm>
            <a:off x="7700887" y="3216568"/>
            <a:ext cx="2169408" cy="1421964"/>
          </a:xfrm>
          <a:prstGeom prst="rect">
            <a:avLst/>
          </a:prstGeom>
          <a:noFill/>
        </p:spPr>
        <p:txBody>
          <a:bodyPr/>
          <a:lstStyle/>
          <a:p>
            <a:endParaRPr lang="en-US"/>
          </a:p>
        </p:txBody>
      </p:sp>
      <p:sp>
        <p:nvSpPr>
          <p:cNvPr id="26" name="Arrow: Circular 25">
            <a:extLst>
              <a:ext uri="{FF2B5EF4-FFF2-40B4-BE49-F238E27FC236}">
                <a16:creationId xmlns:a16="http://schemas.microsoft.com/office/drawing/2014/main" id="{B810422D-B7FA-C84D-8041-14938CBA2FFC}"/>
              </a:ext>
            </a:extLst>
          </p:cNvPr>
          <p:cNvSpPr/>
          <p:nvPr/>
        </p:nvSpPr>
        <p:spPr>
          <a:xfrm rot="18794468">
            <a:off x="8091468" y="3260086"/>
            <a:ext cx="1325648" cy="1325648"/>
          </a:xfrm>
          <a:prstGeom prst="circularArrow">
            <a:avLst>
              <a:gd name="adj1" fmla="val 4668"/>
              <a:gd name="adj2" fmla="val 272909"/>
              <a:gd name="adj3" fmla="val 13572419"/>
              <a:gd name="adj4" fmla="val 17547112"/>
              <a:gd name="adj5" fmla="val 4847"/>
            </a:avLst>
          </a:prstGeom>
          <a:solidFill>
            <a:schemeClr val="bg1"/>
          </a:solidFill>
          <a:ln w="28575">
            <a:solidFill>
              <a:schemeClr val="bg1">
                <a:lumMod val="95000"/>
              </a:schemeClr>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28" name="Freeform: Shape 27">
            <a:extLst>
              <a:ext uri="{FF2B5EF4-FFF2-40B4-BE49-F238E27FC236}">
                <a16:creationId xmlns:a16="http://schemas.microsoft.com/office/drawing/2014/main" id="{B1EECEFF-A338-C959-B840-6FB20225C01F}"/>
              </a:ext>
            </a:extLst>
          </p:cNvPr>
          <p:cNvSpPr/>
          <p:nvPr/>
        </p:nvSpPr>
        <p:spPr>
          <a:xfrm>
            <a:off x="8885759" y="4066081"/>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BE382C"/>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CHECK</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5" name="Freeform: Shape 34">
            <a:extLst>
              <a:ext uri="{FF2B5EF4-FFF2-40B4-BE49-F238E27FC236}">
                <a16:creationId xmlns:a16="http://schemas.microsoft.com/office/drawing/2014/main" id="{513A0EC0-17F4-C8E9-0DFE-0DE855611B44}"/>
              </a:ext>
            </a:extLst>
          </p:cNvPr>
          <p:cNvSpPr/>
          <p:nvPr/>
        </p:nvSpPr>
        <p:spPr>
          <a:xfrm>
            <a:off x="7843873" y="407939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633247"/>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ACT</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6" name="Freeform: Shape 35">
            <a:extLst>
              <a:ext uri="{FF2B5EF4-FFF2-40B4-BE49-F238E27FC236}">
                <a16:creationId xmlns:a16="http://schemas.microsoft.com/office/drawing/2014/main" id="{38783147-E506-49CC-617E-4C57CE587614}"/>
              </a:ext>
            </a:extLst>
          </p:cNvPr>
          <p:cNvSpPr/>
          <p:nvPr/>
        </p:nvSpPr>
        <p:spPr>
          <a:xfrm>
            <a:off x="7842953" y="344582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237DB9"/>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PLAN</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7" name="Freeform: Shape 36">
            <a:extLst>
              <a:ext uri="{FF2B5EF4-FFF2-40B4-BE49-F238E27FC236}">
                <a16:creationId xmlns:a16="http://schemas.microsoft.com/office/drawing/2014/main" id="{6225CB2F-88C0-B092-9452-6ED1EF92F95E}"/>
              </a:ext>
            </a:extLst>
          </p:cNvPr>
          <p:cNvSpPr/>
          <p:nvPr/>
        </p:nvSpPr>
        <p:spPr>
          <a:xfrm>
            <a:off x="8822941" y="3423190"/>
            <a:ext cx="701644"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118978"/>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DO</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75443869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Placeholder 17">
            <a:extLst>
              <a:ext uri="{FF2B5EF4-FFF2-40B4-BE49-F238E27FC236}">
                <a16:creationId xmlns:a16="http://schemas.microsoft.com/office/drawing/2014/main" id="{BD0D899D-5F0C-CE56-1F3E-7D959811CE6C}"/>
              </a:ext>
            </a:extLst>
          </p:cNvPr>
          <p:cNvPicPr>
            <a:picLocks noGrp="1" noChangeAspect="1"/>
          </p:cNvPicPr>
          <p:nvPr>
            <p:ph type="pic" sz="quarter" idx="15"/>
          </p:nvPr>
        </p:nvPicPr>
        <p:blipFill>
          <a:blip r:embed="rId3" cstate="print">
            <a:extLst>
              <a:ext uri="{28A0092B-C50C-407E-A947-70E740481C1C}">
                <a14:useLocalDpi xmlns:a14="http://schemas.microsoft.com/office/drawing/2010/main" val="0"/>
              </a:ext>
            </a:extLst>
          </a:blip>
          <a:srcRect/>
          <a:stretch>
            <a:fillRect/>
          </a:stretch>
        </p:blip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10885"/>
            <a:ext cx="12192000" cy="1467854"/>
          </a:xfrm>
          <a:solidFill>
            <a:schemeClr val="tx1">
              <a:lumMod val="95000"/>
              <a:lumOff val="5000"/>
              <a:alpha val="75000"/>
            </a:schemeClr>
          </a:solidFill>
        </p:spPr>
        <p:txBody>
          <a:bodyPr/>
          <a:lstStyle/>
          <a:p>
            <a:r>
              <a:rPr lang="en-US"/>
              <a:t>PROJECT TRACKING AND MONITORING</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4" name="Picture 3">
            <a:extLst>
              <a:ext uri="{FF2B5EF4-FFF2-40B4-BE49-F238E27FC236}">
                <a16:creationId xmlns:a16="http://schemas.microsoft.com/office/drawing/2014/main" id="{0663EFD2-0AA9-3EB7-E511-0AEEFA5B75D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257417" y="1742999"/>
            <a:ext cx="4351177" cy="4346810"/>
          </a:xfrm>
          <a:prstGeom prst="rect">
            <a:avLst/>
          </a:prstGeom>
        </p:spPr>
      </p:pic>
      <p:sp>
        <p:nvSpPr>
          <p:cNvPr id="5" name="TextBox 4">
            <a:extLst>
              <a:ext uri="{FF2B5EF4-FFF2-40B4-BE49-F238E27FC236}">
                <a16:creationId xmlns:a16="http://schemas.microsoft.com/office/drawing/2014/main" id="{3E1DA7FF-E33F-8FA6-B10E-A514F3CE5355}"/>
              </a:ext>
            </a:extLst>
          </p:cNvPr>
          <p:cNvSpPr txBox="1"/>
          <p:nvPr/>
        </p:nvSpPr>
        <p:spPr>
          <a:xfrm>
            <a:off x="360651" y="1760924"/>
            <a:ext cx="6272312" cy="3693319"/>
          </a:xfrm>
          <a:prstGeom prst="rect">
            <a:avLst/>
          </a:prstGeom>
          <a:noFill/>
        </p:spPr>
        <p:txBody>
          <a:bodyPr wrap="square" rtlCol="0">
            <a:spAutoFit/>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ensures that the clients’ corporate goals and business benefits are realized through a controlled, well-managed, visible set of activities to achieve the desired results.</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has an experience of delivering  full spectrum of services at every phase of project life cycle. </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he Project Manager will track, review, and regulate the progress and performance of the project; identify any areas in which changes to the plan are required, initiate the corresponding changes and publish, maintain and communicate the risks to  </a:t>
            </a:r>
            <a:r>
              <a:rPr lang="en-GB" b="1" dirty="0">
                <a:solidFill>
                  <a:prstClr val="black"/>
                </a:solidFill>
                <a:highlight>
                  <a:srgbClr val="FFFFFF"/>
                </a:highlight>
                <a:latin typeface="Calibri" panose="020F0502020204030204" pitchFamily="34" charset="0"/>
                <a:cs typeface="Calibri" panose="020F0502020204030204" pitchFamily="34" charset="0"/>
              </a:rPr>
              <a:t>Dummy Company</a:t>
            </a: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s management.</a:t>
            </a: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137107909"/>
      </p:ext>
    </p:extLst>
  </p:cSld>
  <p:clrMapOvr>
    <a:masterClrMapping/>
  </p:clrMapOvr>
  <p:extLst>
    <p:ext uri="{6950BFC3-D8DA-4A85-94F7-54DA5524770B}">
      <p188:commentRel xmlns:p188="http://schemas.microsoft.com/office/powerpoint/2018/8/main" r:id="rId2"/>
    </p:ext>
  </p:extLs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picture containing text, person&#10;&#10;Description automatically generated">
            <a:extLst>
              <a:ext uri="{FF2B5EF4-FFF2-40B4-BE49-F238E27FC236}">
                <a16:creationId xmlns:a16="http://schemas.microsoft.com/office/drawing/2014/main" id="{4F3B9FB6-743F-93BA-8166-E531695AC07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6042" y="-30681"/>
            <a:ext cx="12207240" cy="1498535"/>
          </a:xfrm>
          <a:prstGeom prst="rect">
            <a:avLst/>
          </a:prstGeom>
        </p:spPr>
      </p:pic>
      <p:grpSp>
        <p:nvGrpSpPr>
          <p:cNvPr id="2" name="Group 1">
            <a:extLst>
              <a:ext uri="{FF2B5EF4-FFF2-40B4-BE49-F238E27FC236}">
                <a16:creationId xmlns:a16="http://schemas.microsoft.com/office/drawing/2014/main" id="{D63372C0-F38D-514D-7B6F-66D03DB3B3E2}"/>
              </a:ext>
            </a:extLst>
          </p:cNvPr>
          <p:cNvGrpSpPr/>
          <p:nvPr/>
        </p:nvGrpSpPr>
        <p:grpSpPr>
          <a:xfrm>
            <a:off x="3015917" y="1598536"/>
            <a:ext cx="6914144" cy="4680406"/>
            <a:chOff x="1122947" y="1667458"/>
            <a:chExt cx="8402900" cy="4680406"/>
          </a:xfrm>
        </p:grpSpPr>
        <p:pic>
          <p:nvPicPr>
            <p:cNvPr id="4" name="Picture 7">
              <a:extLst>
                <a:ext uri="{FF2B5EF4-FFF2-40B4-BE49-F238E27FC236}">
                  <a16:creationId xmlns:a16="http://schemas.microsoft.com/office/drawing/2014/main" id="{B0D24A89-1511-4B81-7C42-2498BB292DF6}"/>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1122947" y="1884355"/>
              <a:ext cx="1236733" cy="627197"/>
            </a:xfrm>
            <a:prstGeom prst="rect">
              <a:avLst/>
            </a:prstGeom>
            <a:ln>
              <a:noFill/>
            </a:ln>
          </p:spPr>
        </p:pic>
        <p:pic>
          <p:nvPicPr>
            <p:cNvPr id="9" name="Picture 8">
              <a:extLst>
                <a:ext uri="{FF2B5EF4-FFF2-40B4-BE49-F238E27FC236}">
                  <a16:creationId xmlns:a16="http://schemas.microsoft.com/office/drawing/2014/main" id="{42048AF6-ACC7-0239-41F2-33159194FACA}"/>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a:xfrm>
              <a:off x="1305819" y="4176066"/>
              <a:ext cx="1096384" cy="792570"/>
            </a:xfrm>
            <a:prstGeom prst="rect">
              <a:avLst/>
            </a:prstGeom>
            <a:ln>
              <a:noFill/>
            </a:ln>
          </p:spPr>
        </p:pic>
        <p:pic>
          <p:nvPicPr>
            <p:cNvPr id="11" name="Picture 9">
              <a:extLst>
                <a:ext uri="{FF2B5EF4-FFF2-40B4-BE49-F238E27FC236}">
                  <a16:creationId xmlns:a16="http://schemas.microsoft.com/office/drawing/2014/main" id="{CADD4B3A-32FD-BD52-CB8B-C33D3852E1E6}"/>
                </a:ext>
              </a:extLst>
            </p:cNvPr>
            <p:cNvPicPr>
              <a:picLocks noChangeAspect="1"/>
            </p:cNvPicPr>
            <p:nvPr/>
          </p:nvPicPr>
          <p:blipFill>
            <a:blip r:embed="rId6">
              <a:lum bright="70000" contrast="-70000"/>
              <a:extLst>
                <a:ext uri="{28A0092B-C50C-407E-A947-70E740481C1C}">
                  <a14:useLocalDpi xmlns:a14="http://schemas.microsoft.com/office/drawing/2010/main" val="0"/>
                </a:ext>
              </a:extLst>
            </a:blip>
            <a:srcRect/>
            <a:stretch>
              <a:fillRect/>
            </a:stretch>
          </p:blipFill>
          <p:spPr>
            <a:xfrm>
              <a:off x="1305819" y="5553828"/>
              <a:ext cx="993722" cy="744141"/>
            </a:xfrm>
            <a:prstGeom prst="rect">
              <a:avLst/>
            </a:prstGeom>
          </p:spPr>
        </p:pic>
        <p:pic>
          <p:nvPicPr>
            <p:cNvPr id="13" name="Picture 10">
              <a:extLst>
                <a:ext uri="{FF2B5EF4-FFF2-40B4-BE49-F238E27FC236}">
                  <a16:creationId xmlns:a16="http://schemas.microsoft.com/office/drawing/2014/main" id="{A582071A-4EA8-9317-54D5-A3B25DE73E0A}"/>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a:xfrm>
              <a:off x="1482502" y="2982976"/>
              <a:ext cx="693972" cy="807865"/>
            </a:xfrm>
            <a:prstGeom prst="rect">
              <a:avLst/>
            </a:prstGeom>
            <a:ln>
              <a:noFill/>
            </a:ln>
          </p:spPr>
        </p:pic>
        <p:sp>
          <p:nvSpPr>
            <p:cNvPr id="15" name="Rectangle: Rounded Corners 14">
              <a:extLst>
                <a:ext uri="{FF2B5EF4-FFF2-40B4-BE49-F238E27FC236}">
                  <a16:creationId xmlns:a16="http://schemas.microsoft.com/office/drawing/2014/main" id="{7AC65CC2-99B4-4390-F1D3-64128B31610E}"/>
                </a:ext>
              </a:extLst>
            </p:cNvPr>
            <p:cNvSpPr/>
            <p:nvPr/>
          </p:nvSpPr>
          <p:spPr>
            <a:xfrm>
              <a:off x="1122947" y="1667458"/>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7" name="Rectangle: Rounded Corners 16">
              <a:extLst>
                <a:ext uri="{FF2B5EF4-FFF2-40B4-BE49-F238E27FC236}">
                  <a16:creationId xmlns:a16="http://schemas.microsoft.com/office/drawing/2014/main" id="{824FCBA8-AB2C-801A-3DD5-EC14E602FF6E}"/>
                </a:ext>
              </a:extLst>
            </p:cNvPr>
            <p:cNvSpPr/>
            <p:nvPr/>
          </p:nvSpPr>
          <p:spPr>
            <a:xfrm>
              <a:off x="1122947" y="2852651"/>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9" name="Rectangle: Rounded Corners 18">
              <a:extLst>
                <a:ext uri="{FF2B5EF4-FFF2-40B4-BE49-F238E27FC236}">
                  <a16:creationId xmlns:a16="http://schemas.microsoft.com/office/drawing/2014/main" id="{270EE30D-AA9F-F155-0BFE-AA119A3A0F80}"/>
                </a:ext>
              </a:extLst>
            </p:cNvPr>
            <p:cNvSpPr/>
            <p:nvPr/>
          </p:nvSpPr>
          <p:spPr>
            <a:xfrm>
              <a:off x="1122947" y="4037843"/>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2" name="Rectangle: Rounded Corners 21">
              <a:extLst>
                <a:ext uri="{FF2B5EF4-FFF2-40B4-BE49-F238E27FC236}">
                  <a16:creationId xmlns:a16="http://schemas.microsoft.com/office/drawing/2014/main" id="{6765B1E8-4B6A-F8E1-D609-17F697E2FFF0}"/>
                </a:ext>
              </a:extLst>
            </p:cNvPr>
            <p:cNvSpPr/>
            <p:nvPr/>
          </p:nvSpPr>
          <p:spPr>
            <a:xfrm>
              <a:off x="1122947" y="5223035"/>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4" name="TextBox 23">
              <a:extLst>
                <a:ext uri="{FF2B5EF4-FFF2-40B4-BE49-F238E27FC236}">
                  <a16:creationId xmlns:a16="http://schemas.microsoft.com/office/drawing/2014/main" id="{54105E35-7222-8CBA-002A-160F0F151567}"/>
                </a:ext>
              </a:extLst>
            </p:cNvPr>
            <p:cNvSpPr txBox="1"/>
            <p:nvPr/>
          </p:nvSpPr>
          <p:spPr>
            <a:xfrm>
              <a:off x="2722349" y="1768185"/>
              <a:ext cx="2915571"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Project Plan</a:t>
              </a:r>
            </a:p>
          </p:txBody>
        </p:sp>
        <p:sp>
          <p:nvSpPr>
            <p:cNvPr id="26" name="TextBox 25">
              <a:extLst>
                <a:ext uri="{FF2B5EF4-FFF2-40B4-BE49-F238E27FC236}">
                  <a16:creationId xmlns:a16="http://schemas.microsoft.com/office/drawing/2014/main" id="{3A2776E0-08C8-16C9-1BEE-232FB018A83C}"/>
                </a:ext>
              </a:extLst>
            </p:cNvPr>
            <p:cNvSpPr txBox="1"/>
            <p:nvPr/>
          </p:nvSpPr>
          <p:spPr>
            <a:xfrm>
              <a:off x="2722349" y="2067846"/>
              <a:ext cx="6328147" cy="871585"/>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n elaborate project plan comprising of Gantt chart and project dashboard will be developed and updated by GRC360.</a:t>
              </a:r>
            </a:p>
          </p:txBody>
        </p:sp>
        <p:sp>
          <p:nvSpPr>
            <p:cNvPr id="28" name="TextBox 27">
              <a:extLst>
                <a:ext uri="{FF2B5EF4-FFF2-40B4-BE49-F238E27FC236}">
                  <a16:creationId xmlns:a16="http://schemas.microsoft.com/office/drawing/2014/main" id="{E6BDBB91-CC32-E5E2-B260-6EA9E4E14372}"/>
                </a:ext>
              </a:extLst>
            </p:cNvPr>
            <p:cNvSpPr txBox="1"/>
            <p:nvPr/>
          </p:nvSpPr>
          <p:spPr>
            <a:xfrm>
              <a:off x="2722348" y="2952192"/>
              <a:ext cx="3973753"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ork Breakdown Structure</a:t>
              </a:r>
            </a:p>
          </p:txBody>
        </p:sp>
        <p:sp>
          <p:nvSpPr>
            <p:cNvPr id="30" name="TextBox 29">
              <a:extLst>
                <a:ext uri="{FF2B5EF4-FFF2-40B4-BE49-F238E27FC236}">
                  <a16:creationId xmlns:a16="http://schemas.microsoft.com/office/drawing/2014/main" id="{55F67109-4A97-9B81-75B7-4A9EE67D60A4}"/>
                </a:ext>
              </a:extLst>
            </p:cNvPr>
            <p:cNvSpPr txBox="1"/>
            <p:nvPr/>
          </p:nvSpPr>
          <p:spPr>
            <a:xfrm>
              <a:off x="2722349" y="3266938"/>
              <a:ext cx="6472060"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BS of project tasks will be developed that will cover task dependencies, responsibilities and duration.</a:t>
              </a:r>
            </a:p>
          </p:txBody>
        </p:sp>
        <p:sp>
          <p:nvSpPr>
            <p:cNvPr id="32" name="TextBox 31">
              <a:extLst>
                <a:ext uri="{FF2B5EF4-FFF2-40B4-BE49-F238E27FC236}">
                  <a16:creationId xmlns:a16="http://schemas.microsoft.com/office/drawing/2014/main" id="{CDA8B962-4EEA-00A9-7C30-ACB9C1408A25}"/>
                </a:ext>
              </a:extLst>
            </p:cNvPr>
            <p:cNvSpPr txBox="1"/>
            <p:nvPr/>
          </p:nvSpPr>
          <p:spPr>
            <a:xfrm>
              <a:off x="2722349" y="4106938"/>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munication Plan</a:t>
              </a:r>
            </a:p>
          </p:txBody>
        </p:sp>
        <p:sp>
          <p:nvSpPr>
            <p:cNvPr id="35" name="TextBox 34">
              <a:extLst>
                <a:ext uri="{FF2B5EF4-FFF2-40B4-BE49-F238E27FC236}">
                  <a16:creationId xmlns:a16="http://schemas.microsoft.com/office/drawing/2014/main" id="{7AC80D6F-B278-CCAF-1BF9-0B866617362A}"/>
                </a:ext>
              </a:extLst>
            </p:cNvPr>
            <p:cNvSpPr txBox="1"/>
            <p:nvPr/>
          </p:nvSpPr>
          <p:spPr>
            <a:xfrm>
              <a:off x="2722349" y="4445989"/>
              <a:ext cx="6101526"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 communication plan to ensure timely project related information disseminate to relevant stakeholders.</a:t>
              </a:r>
            </a:p>
          </p:txBody>
        </p:sp>
        <p:sp>
          <p:nvSpPr>
            <p:cNvPr id="37" name="TextBox 36">
              <a:extLst>
                <a:ext uri="{FF2B5EF4-FFF2-40B4-BE49-F238E27FC236}">
                  <a16:creationId xmlns:a16="http://schemas.microsoft.com/office/drawing/2014/main" id="{BBBFAEAC-F860-5C02-90EF-183652ACF49A}"/>
                </a:ext>
              </a:extLst>
            </p:cNvPr>
            <p:cNvSpPr txBox="1"/>
            <p:nvPr/>
          </p:nvSpPr>
          <p:spPr>
            <a:xfrm>
              <a:off x="2722349" y="5400265"/>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RACI Matrix</a:t>
              </a:r>
            </a:p>
          </p:txBody>
        </p:sp>
        <p:sp>
          <p:nvSpPr>
            <p:cNvPr id="39" name="TextBox 38">
              <a:extLst>
                <a:ext uri="{FF2B5EF4-FFF2-40B4-BE49-F238E27FC236}">
                  <a16:creationId xmlns:a16="http://schemas.microsoft.com/office/drawing/2014/main" id="{91D6A609-36C6-2198-72D8-87A46159B66D}"/>
                </a:ext>
              </a:extLst>
            </p:cNvPr>
            <p:cNvSpPr txBox="1"/>
            <p:nvPr/>
          </p:nvSpPr>
          <p:spPr>
            <a:xfrm>
              <a:off x="2722348" y="5736030"/>
              <a:ext cx="5607969" cy="61183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learly defined roles and responsibilities will be developed.</a:t>
              </a:r>
            </a:p>
          </p:txBody>
        </p:sp>
      </p:grpSp>
      <p:sp>
        <p:nvSpPr>
          <p:cNvPr id="3" name="Text Placeholder 2">
            <a:extLst>
              <a:ext uri="{FF2B5EF4-FFF2-40B4-BE49-F238E27FC236}">
                <a16:creationId xmlns:a16="http://schemas.microsoft.com/office/drawing/2014/main" id="{DBB0A2E1-50AF-E104-9FF9-0B92A9820860}"/>
              </a:ext>
            </a:extLst>
          </p:cNvPr>
          <p:cNvSpPr>
            <a:spLocks noGrp="1"/>
          </p:cNvSpPr>
          <p:nvPr>
            <p:ph type="body" sz="quarter" idx="14"/>
          </p:nvPr>
        </p:nvSpPr>
        <p:spPr>
          <a:xfrm>
            <a:off x="0" y="-30681"/>
            <a:ext cx="12192000" cy="1498535"/>
          </a:xfrm>
          <a:solidFill>
            <a:schemeClr val="tx1">
              <a:lumMod val="95000"/>
              <a:lumOff val="5000"/>
              <a:alpha val="75000"/>
            </a:schemeClr>
          </a:solidFill>
        </p:spPr>
        <p:txBody>
          <a:bodyPr/>
          <a:lstStyle/>
          <a:p>
            <a:r>
              <a:rPr lang="en-US"/>
              <a:t>PROJECT DOCUMENTATION </a:t>
            </a:r>
            <a:endParaRPr lang="en-GB"/>
          </a:p>
        </p:txBody>
      </p:sp>
      <p:sp>
        <p:nvSpPr>
          <p:cNvPr id="5" name="Freeform 12">
            <a:extLst>
              <a:ext uri="{FF2B5EF4-FFF2-40B4-BE49-F238E27FC236}">
                <a16:creationId xmlns:a16="http://schemas.microsoft.com/office/drawing/2014/main" id="{3A377BB2-D16B-9D3D-F9C7-FDE6D5D30BE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 name="Rectangle 6">
            <a:extLst>
              <a:ext uri="{FF2B5EF4-FFF2-40B4-BE49-F238E27FC236}">
                <a16:creationId xmlns:a16="http://schemas.microsoft.com/office/drawing/2014/main" id="{AC7F70D6-F0B3-6B35-5486-F3EA66C8187A}"/>
              </a:ext>
            </a:extLst>
          </p:cNvPr>
          <p:cNvSpPr/>
          <p:nvPr/>
        </p:nvSpPr>
        <p:spPr>
          <a:xfrm>
            <a:off x="-16042" y="1504865"/>
            <a:ext cx="12207240" cy="97735"/>
          </a:xfrm>
          <a:prstGeom prst="rect">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41389820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A picture containing outdoor, city&#10;&#10;Description automatically generated">
            <a:extLst>
              <a:ext uri="{FF2B5EF4-FFF2-40B4-BE49-F238E27FC236}">
                <a16:creationId xmlns:a16="http://schemas.microsoft.com/office/drawing/2014/main" id="{95AD29A8-EF6C-0F6D-D214-F78924782A32}"/>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val="0"/>
              </a:ext>
            </a:extLst>
          </a:blip>
          <a:srcRect/>
          <a:stretch/>
        </p:blipFill>
        <p:spPr>
          <a:xfrm>
            <a:off x="7594930" y="0"/>
            <a:ext cx="4597070" cy="6897584"/>
          </a:xfrm>
        </p:spPr>
      </p:pic>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p:txBody>
          <a:bodyPr/>
          <a:lstStyle/>
          <a:p>
            <a:r>
              <a:rPr lang="en-US"/>
              <a:t>ABOUT US</a:t>
            </a:r>
            <a:endParaRPr lang="en-GB"/>
          </a:p>
        </p:txBody>
      </p:sp>
      <p:sp>
        <p:nvSpPr>
          <p:cNvPr id="7" name="TextBox 8">
            <a:extLst>
              <a:ext uri="{FF2B5EF4-FFF2-40B4-BE49-F238E27FC236}">
                <a16:creationId xmlns:a16="http://schemas.microsoft.com/office/drawing/2014/main" id="{15C97D61-4FAC-9DF8-0CD8-8D49CC9EA0C7}"/>
              </a:ext>
            </a:extLst>
          </p:cNvPr>
          <p:cNvSpPr txBox="1"/>
          <p:nvPr/>
        </p:nvSpPr>
        <p:spPr>
          <a:xfrm>
            <a:off x="238999" y="1718769"/>
            <a:ext cx="7037796" cy="4782976"/>
          </a:xfrm>
          <a:prstGeom prst="rect">
            <a:avLst/>
          </a:prstGeom>
        </p:spPr>
        <p:txBody>
          <a:bodyPr wrap="square" lIns="0" tIns="0" rIns="0" bIns="0" rtlCol="0" anchor="t">
            <a:spAutoFit/>
          </a:bodyPr>
          <a:lstStyle/>
          <a:p>
            <a:pPr marL="0" marR="0" lvl="0" indent="0" algn="just" defTabSz="857250" rtl="0" eaLnBrk="1" fontAlgn="auto" latinLnBrk="0" hangingPunct="1">
              <a:lnSpc>
                <a:spcPts val="2530"/>
              </a:lnSpc>
              <a:spcBef>
                <a:spcPts val="0"/>
              </a:spcBef>
              <a:spcAft>
                <a:spcPts val="0"/>
              </a:spcAft>
              <a:buClrTx/>
              <a:buSzTx/>
              <a:buFontTx/>
              <a:buNone/>
              <a:tabLst/>
              <a:defRPr/>
            </a:pPr>
            <a:r>
              <a:rPr kumimoji="0" lang="en-US" sz="1600" b="0" i="0" u="none" strike="noStrike" kern="1200" cap="none" spc="16" normalizeH="0" baseline="0" noProof="0">
                <a:ln>
                  <a:noFill/>
                </a:ln>
                <a:solidFill>
                  <a:srgbClr val="000000"/>
                </a:solidFill>
                <a:effectLst/>
                <a:uLnTx/>
                <a:uFillTx/>
                <a:latin typeface="Calibri"/>
                <a:ea typeface="Calibri"/>
                <a:cs typeface="Calibri"/>
              </a:rPr>
              <a:t>GRC360 is a vendor-neutral professional consultancy and audit firm with specialized focus on information security and data protection. </a:t>
            </a:r>
            <a:endParaRPr lang="en-US" sz="1600" b="0" i="0" u="none" strike="noStrike" kern="1200" cap="none" spc="16" normalizeH="0" baseline="0" noProof="0">
              <a:ln>
                <a:noFill/>
              </a:ln>
              <a:solidFill>
                <a:srgbClr val="000000"/>
              </a:solidFill>
              <a:effectLst/>
              <a:uLnTx/>
              <a:uFillTx/>
              <a:latin typeface="Calibri"/>
              <a:ea typeface="Calibri"/>
              <a:cs typeface="Calibri"/>
            </a:endParaRPr>
          </a:p>
          <a:p>
            <a:pPr algn="just" defTabSz="857250">
              <a:lnSpc>
                <a:spcPts val="2530"/>
              </a:lnSpc>
              <a:defRPr/>
            </a:pPr>
            <a:br>
              <a:rPr lang="en-US" sz="1600" spc="16">
                <a:latin typeface="Calibri"/>
                <a:ea typeface="Calibri"/>
                <a:cs typeface="Calibri"/>
              </a:rPr>
            </a:br>
            <a:r>
              <a:rPr kumimoji="0" lang="en-US" sz="1600" b="0" i="0" u="none" strike="noStrike" kern="1200" cap="none" spc="16" normalizeH="0" baseline="0" noProof="0">
                <a:ln>
                  <a:noFill/>
                </a:ln>
                <a:solidFill>
                  <a:srgbClr val="000000"/>
                </a:solidFill>
                <a:effectLst/>
                <a:uLnTx/>
                <a:uFillTx/>
                <a:latin typeface="Calibri"/>
                <a:ea typeface="Calibri"/>
                <a:cs typeface="Calibri"/>
              </a:rPr>
              <a:t>Our consultants collectively possess more than a-century-long experience working with large enterprises and governments in providing consultancy and assessment services against </a:t>
            </a:r>
            <a:r>
              <a:rPr lang="en-US" sz="1600" spc="16">
                <a:solidFill>
                  <a:srgbClr val="000000"/>
                </a:solidFill>
                <a:latin typeface="Calibri"/>
                <a:ea typeface="Calibri"/>
                <a:cs typeface="Calibri"/>
              </a:rPr>
              <a:t>KSA PDPL, SAMA Standards, NCA standards, NDMO Data Privacy Standard etc.</a:t>
            </a:r>
          </a:p>
          <a:p>
            <a:pPr algn="just" defTabSz="857250">
              <a:lnSpc>
                <a:spcPts val="2530"/>
              </a:lnSpc>
              <a:defRPr/>
            </a:pPr>
            <a:endParaRPr lang="en-US" sz="1600" b="0" i="0" u="none" strike="noStrike" kern="1200" cap="none" spc="16" normalizeH="0" baseline="0" noProof="0">
              <a:ln>
                <a:noFill/>
              </a:ln>
              <a:solidFill>
                <a:srgbClr val="000000"/>
              </a:solidFill>
              <a:effectLst/>
              <a:uLnTx/>
              <a:uFillTx/>
              <a:latin typeface="Calibri" panose="020F0502020204030204" pitchFamily="34" charset="0"/>
              <a:ea typeface="Calibri"/>
              <a:cs typeface="Calibri" panose="020F0502020204030204" pitchFamily="34" charset="0"/>
            </a:endParaRPr>
          </a:p>
          <a:p>
            <a:pPr algn="just" defTabSz="857250">
              <a:lnSpc>
                <a:spcPts val="2530"/>
              </a:lnSpc>
              <a:defRPr/>
            </a:pPr>
            <a:r>
              <a:rPr lang="en-US" sz="1600"/>
              <a:t>We specialize in providing expert consultancy services for compliance with the KSA Personal Data Protection Law (PDPL). With proven experience and a client-centric approach, we ensure our clients achieve compliance effectively and confidently, leaving them highly satisfied with our tailored solutions.</a:t>
            </a:r>
            <a:endParaRPr lang="en-US" sz="1600" b="0" i="0" u="none" strike="noStrike" kern="1200" cap="none" spc="16" normalizeH="0" baseline="0" noProof="0">
              <a:ln>
                <a:noFill/>
              </a:ln>
              <a:solidFill>
                <a:srgbClr val="000000"/>
              </a:solidFill>
              <a:effectLst/>
              <a:uLnTx/>
              <a:uFillTx/>
              <a:latin typeface="Calibri" panose="020F0502020204030204" pitchFamily="34" charset="0"/>
              <a:ea typeface="Calibri"/>
              <a:cs typeface="Calibri" panose="020F0502020204030204" pitchFamily="34" charset="0"/>
            </a:endParaRPr>
          </a:p>
          <a:p>
            <a:pPr algn="just" defTabSz="857250">
              <a:lnSpc>
                <a:spcPts val="2530"/>
              </a:lnSpc>
              <a:defRPr/>
            </a:pPr>
            <a:r>
              <a:rPr kumimoji="0" lang="en-US" sz="1600" b="0" i="0" u="none" strike="noStrike" kern="1200" cap="none" spc="16" normalizeH="0" baseline="0" noProof="0">
                <a:ln>
                  <a:noFill/>
                </a:ln>
                <a:solidFill>
                  <a:srgbClr val="000000"/>
                </a:solidFill>
                <a:effectLst/>
                <a:uLnTx/>
                <a:uFillTx/>
                <a:latin typeface="Calibri"/>
                <a:ea typeface="Calibri"/>
                <a:cs typeface="Calibri"/>
              </a:rPr>
              <a:t>We are PCI SSC approved Qualified Security Assessor (QSA) for PCI DSS. We deliver coherence for your governance, risk management and compliance needs. </a:t>
            </a:r>
            <a:endParaRPr lang="en-US" sz="1600" b="0" i="0" u="none" strike="noStrike" kern="1200" cap="none" spc="16" normalizeH="0" baseline="0" noProof="0">
              <a:ln>
                <a:noFill/>
              </a:ln>
              <a:solidFill>
                <a:srgbClr val="000000"/>
              </a:solidFill>
              <a:effectLst/>
              <a:uLnTx/>
              <a:uFillTx/>
              <a:latin typeface="Calibri"/>
              <a:ea typeface="Calibri"/>
              <a:cs typeface="Calibri"/>
            </a:endParaRPr>
          </a:p>
          <a:p>
            <a:pPr marL="0" marR="0" lvl="0" indent="0" algn="just" defTabSz="857250" rtl="0" eaLnBrk="1" fontAlgn="auto" latinLnBrk="0" hangingPunct="1">
              <a:lnSpc>
                <a:spcPts val="2530"/>
              </a:lnSpc>
              <a:spcBef>
                <a:spcPts val="0"/>
              </a:spcBef>
              <a:spcAft>
                <a:spcPts val="0"/>
              </a:spcAft>
              <a:buClrTx/>
              <a:buSzTx/>
              <a:buFontTx/>
              <a:buNone/>
              <a:tabLst/>
              <a:defRPr/>
            </a:pPr>
            <a:endParaRPr lang="en-US" sz="1600" spc="16">
              <a:solidFill>
                <a:srgbClr val="000000"/>
              </a:solidFill>
              <a:latin typeface="Calibri" panose="020F0502020204030204" pitchFamily="34" charset="0"/>
              <a:ea typeface="Calibri"/>
              <a:cs typeface="Calibri" panose="020F0502020204030204" pitchFamily="34" charset="0"/>
            </a:endParaRP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26717880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grpSp>
        <p:nvGrpSpPr>
          <p:cNvPr id="4" name="Group 4"/>
          <p:cNvGrpSpPr/>
          <p:nvPr/>
        </p:nvGrpSpPr>
        <p:grpSpPr>
          <a:xfrm>
            <a:off x="643944" y="2944715"/>
            <a:ext cx="10818253" cy="2661569"/>
            <a:chOff x="0" y="85725"/>
            <a:chExt cx="11531402" cy="3785342"/>
          </a:xfrm>
        </p:grpSpPr>
        <p:sp>
          <p:nvSpPr>
            <p:cNvPr id="5" name="TextBox 5"/>
            <p:cNvSpPr txBox="1"/>
            <p:nvPr/>
          </p:nvSpPr>
          <p:spPr>
            <a:xfrm>
              <a:off x="2904" y="85725"/>
              <a:ext cx="11525594" cy="820737"/>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TEAM</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xperienced Certified Professionals</a:t>
              </a:r>
            </a:p>
          </p:txBody>
        </p:sp>
        <p:sp>
          <p:nvSpPr>
            <p:cNvPr id="7" name="TextBox 7"/>
            <p:cNvSpPr txBox="1"/>
            <p:nvPr/>
          </p:nvSpPr>
          <p:spPr>
            <a:xfrm>
              <a:off x="0" y="2503171"/>
              <a:ext cx="11528498" cy="1367896"/>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team members are seasoned consultants having extensive and proven experience of providing premium consulting services to clients ranging from financial to government organizations and spanning from Asia, Middle East to Europe.</a:t>
              </a:r>
            </a:p>
          </p:txBody>
        </p:sp>
        <p:sp>
          <p:nvSpPr>
            <p:cNvPr id="8" name="AutoShape 8"/>
            <p:cNvSpPr/>
            <p:nvPr/>
          </p:nvSpPr>
          <p:spPr>
            <a:xfrm>
              <a:off x="2904" y="2059093"/>
              <a:ext cx="677333" cy="149013"/>
            </a:xfrm>
            <a:prstGeom prst="rect">
              <a:avLst/>
            </a:prstGeom>
            <a:solidFill>
              <a:srgbClr val="CCB76A"/>
            </a:solidFill>
          </p:spPr>
          <p:txBody>
            <a:bodyPr/>
            <a:lstStyle/>
            <a:p>
              <a:endParaRPr lang="en-US"/>
            </a:p>
          </p:txBody>
        </p:sp>
      </p:grpSp>
      <p:pic>
        <p:nvPicPr>
          <p:cNvPr id="9" name="Picture 2">
            <a:extLst>
              <a:ext uri="{FF2B5EF4-FFF2-40B4-BE49-F238E27FC236}">
                <a16:creationId xmlns:a16="http://schemas.microsoft.com/office/drawing/2014/main" id="{3557D159-3CD2-A2C7-0B8E-7B7CC9C65F43}"/>
              </a:ext>
            </a:extLst>
          </p:cNvPr>
          <p:cNvPicPr>
            <a:picLocks noChangeAspect="1"/>
          </p:cNvPicPr>
          <p:nvPr/>
        </p:nvPicPr>
        <p:blipFill rotWithShape="1">
          <a:blip r:embed="rId3" cstate="print">
            <a:alphaModFix amt="80000"/>
            <a:extLst>
              <a:ext uri="{28A0092B-C50C-407E-A947-70E740481C1C}">
                <a14:useLocalDpi xmlns:a14="http://schemas.microsoft.com/office/drawing/2010/main" val="0"/>
              </a:ext>
            </a:extLst>
          </a:blip>
          <a:srcRect r="-364"/>
          <a:stretch/>
        </p:blipFill>
        <p:spPr>
          <a:xfrm>
            <a:off x="0" y="-1094"/>
            <a:ext cx="12192000" cy="2505620"/>
          </a:xfrm>
          <a:prstGeom prst="rect">
            <a:avLst/>
          </a:prstGeom>
        </p:spPr>
      </p:pic>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621445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pic>
        <p:nvPicPr>
          <p:cNvPr id="20" name="Picture 10">
            <a:extLst>
              <a:ext uri="{FF2B5EF4-FFF2-40B4-BE49-F238E27FC236}">
                <a16:creationId xmlns:a16="http://schemas.microsoft.com/office/drawing/2014/main" id="{1BC1F949-A5B5-3CFB-B182-CAC348BF831C}"/>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7085366" y="2447536"/>
            <a:ext cx="1027298" cy="1027298"/>
          </a:xfrm>
          <a:prstGeom prst="rect">
            <a:avLst/>
          </a:prstGeom>
        </p:spPr>
      </p:pic>
      <p:pic>
        <p:nvPicPr>
          <p:cNvPr id="24" name="Picture 11">
            <a:extLst>
              <a:ext uri="{FF2B5EF4-FFF2-40B4-BE49-F238E27FC236}">
                <a16:creationId xmlns:a16="http://schemas.microsoft.com/office/drawing/2014/main" id="{6FD2AB91-B294-CCD4-3FAD-B70FAD343E32}"/>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5738329" y="2469768"/>
            <a:ext cx="1181854" cy="1077559"/>
          </a:xfrm>
          <a:prstGeom prst="rect">
            <a:avLst/>
          </a:prstGeom>
        </p:spPr>
      </p:pic>
      <p:pic>
        <p:nvPicPr>
          <p:cNvPr id="26" name="Picture 12">
            <a:extLst>
              <a:ext uri="{FF2B5EF4-FFF2-40B4-BE49-F238E27FC236}">
                <a16:creationId xmlns:a16="http://schemas.microsoft.com/office/drawing/2014/main" id="{2E062396-8FB1-5780-51A8-E55C89A26B33}"/>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a:xfrm>
            <a:off x="9927041" y="3168877"/>
            <a:ext cx="1019202" cy="1019202"/>
          </a:xfrm>
          <a:prstGeom prst="rect">
            <a:avLst/>
          </a:prstGeom>
        </p:spPr>
      </p:pic>
      <p:pic>
        <p:nvPicPr>
          <p:cNvPr id="29" name="Picture 13">
            <a:extLst>
              <a:ext uri="{FF2B5EF4-FFF2-40B4-BE49-F238E27FC236}">
                <a16:creationId xmlns:a16="http://schemas.microsoft.com/office/drawing/2014/main" id="{8C9B5AE1-9F3E-25E2-906B-51262A425AC7}"/>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a:xfrm>
            <a:off x="4601451" y="4350441"/>
            <a:ext cx="1475929" cy="1152431"/>
          </a:xfrm>
          <a:prstGeom prst="rect">
            <a:avLst/>
          </a:prstGeom>
        </p:spPr>
      </p:pic>
      <p:pic>
        <p:nvPicPr>
          <p:cNvPr id="32" name="Picture 14">
            <a:extLst>
              <a:ext uri="{FF2B5EF4-FFF2-40B4-BE49-F238E27FC236}">
                <a16:creationId xmlns:a16="http://schemas.microsoft.com/office/drawing/2014/main" id="{1E8AC5AA-A703-63E7-FCCE-ADD731334DDE}"/>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a:xfrm>
            <a:off x="5810724" y="4409008"/>
            <a:ext cx="1483377" cy="1152432"/>
          </a:xfrm>
          <a:prstGeom prst="rect">
            <a:avLst/>
          </a:prstGeom>
        </p:spPr>
      </p:pic>
      <p:pic>
        <p:nvPicPr>
          <p:cNvPr id="37" name="Picture 15">
            <a:extLst>
              <a:ext uri="{FF2B5EF4-FFF2-40B4-BE49-F238E27FC236}">
                <a16:creationId xmlns:a16="http://schemas.microsoft.com/office/drawing/2014/main" id="{73323817-E061-5AEB-B3CF-CCE7098DBDD7}"/>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a:xfrm>
            <a:off x="3646970" y="3189491"/>
            <a:ext cx="1019201" cy="1019201"/>
          </a:xfrm>
          <a:prstGeom prst="rect">
            <a:avLst/>
          </a:prstGeom>
        </p:spPr>
      </p:pic>
      <p:pic>
        <p:nvPicPr>
          <p:cNvPr id="41" name="Picture 16">
            <a:extLst>
              <a:ext uri="{FF2B5EF4-FFF2-40B4-BE49-F238E27FC236}">
                <a16:creationId xmlns:a16="http://schemas.microsoft.com/office/drawing/2014/main" id="{0C6883BD-2D06-3955-FAB6-17AD4CC1BB2B}"/>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a:xfrm>
            <a:off x="7115705" y="4417825"/>
            <a:ext cx="1422843" cy="1100291"/>
          </a:xfrm>
          <a:prstGeom prst="rect">
            <a:avLst/>
          </a:prstGeom>
        </p:spPr>
      </p:pic>
      <p:pic>
        <p:nvPicPr>
          <p:cNvPr id="43" name="Picture 17">
            <a:extLst>
              <a:ext uri="{FF2B5EF4-FFF2-40B4-BE49-F238E27FC236}">
                <a16:creationId xmlns:a16="http://schemas.microsoft.com/office/drawing/2014/main" id="{0FB676C5-3CAF-9DEE-2BFD-EA0221DF724F}"/>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a:xfrm>
            <a:off x="3456563" y="4454031"/>
            <a:ext cx="1355367" cy="1048841"/>
          </a:xfrm>
          <a:prstGeom prst="rect">
            <a:avLst/>
          </a:prstGeom>
        </p:spPr>
      </p:pic>
      <p:pic>
        <p:nvPicPr>
          <p:cNvPr id="45" name="Picture 44">
            <a:extLst>
              <a:ext uri="{FF2B5EF4-FFF2-40B4-BE49-F238E27FC236}">
                <a16:creationId xmlns:a16="http://schemas.microsoft.com/office/drawing/2014/main" id="{B36F5197-9F61-7D29-A89C-423D7B7AE61D}"/>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813078" y="1860914"/>
            <a:ext cx="1380127" cy="947964"/>
          </a:xfrm>
          <a:prstGeom prst="rect">
            <a:avLst/>
          </a:prstGeom>
        </p:spPr>
      </p:pic>
      <p:pic>
        <p:nvPicPr>
          <p:cNvPr id="47" name="Picture 46">
            <a:extLst>
              <a:ext uri="{FF2B5EF4-FFF2-40B4-BE49-F238E27FC236}">
                <a16:creationId xmlns:a16="http://schemas.microsoft.com/office/drawing/2014/main" id="{A2E7EA6E-B00B-1F46-4129-24C3241D2EF7}"/>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981465" y="2447578"/>
            <a:ext cx="839801" cy="755820"/>
          </a:xfrm>
          <a:prstGeom prst="rect">
            <a:avLst/>
          </a:prstGeom>
        </p:spPr>
      </p:pic>
      <p:pic>
        <p:nvPicPr>
          <p:cNvPr id="49" name="Picture 48">
            <a:extLst>
              <a:ext uri="{FF2B5EF4-FFF2-40B4-BE49-F238E27FC236}">
                <a16:creationId xmlns:a16="http://schemas.microsoft.com/office/drawing/2014/main" id="{4425D3AA-288B-47D9-28CF-ADAAD7B28283}"/>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125218" y="1754823"/>
            <a:ext cx="1740541" cy="720830"/>
          </a:xfrm>
          <a:prstGeom prst="rect">
            <a:avLst/>
          </a:prstGeom>
        </p:spPr>
      </p:pic>
      <p:sp>
        <p:nvSpPr>
          <p:cNvPr id="3" name="TextBox 7">
            <a:extLst>
              <a:ext uri="{FF2B5EF4-FFF2-40B4-BE49-F238E27FC236}">
                <a16:creationId xmlns:a16="http://schemas.microsoft.com/office/drawing/2014/main" id="{E9A01113-3042-B3DC-33C8-AB3B0A4459A9}"/>
              </a:ext>
            </a:extLst>
          </p:cNvPr>
          <p:cNvSpPr txBox="1"/>
          <p:nvPr/>
        </p:nvSpPr>
        <p:spPr>
          <a:xfrm>
            <a:off x="3986485" y="1311829"/>
            <a:ext cx="7347365" cy="214802"/>
          </a:xfrm>
          <a:prstGeom prst="rect">
            <a:avLst/>
          </a:prstGeom>
        </p:spPr>
        <p:txBody>
          <a:bodyPr lIns="0" tIns="0" rIns="0" bIns="0" rtlCol="0" anchor="t">
            <a:spAutoFit/>
          </a:bodyPr>
          <a:lstStyle/>
          <a:p>
            <a:pPr defTabSz="857250">
              <a:lnSpc>
                <a:spcPts val="1575"/>
              </a:lnSpc>
              <a:defRPr/>
            </a:pPr>
            <a:r>
              <a:rPr kumimoji="0" lang="en-US" sz="1800" b="0" i="0" u="none" strike="noStrike" kern="1200" cap="none" spc="0" normalizeH="0" baseline="0" noProof="0">
                <a:ln>
                  <a:noFill/>
                </a:ln>
                <a:solidFill>
                  <a:srgbClr val="20212A"/>
                </a:solidFill>
                <a:effectLst/>
                <a:uLnTx/>
                <a:uFillTx/>
                <a:latin typeface="Calibri"/>
                <a:ea typeface="Calibri"/>
                <a:cs typeface="Calibri"/>
              </a:rPr>
              <a:t>Our Consultants have </a:t>
            </a:r>
            <a:r>
              <a:rPr lang="en-US">
                <a:solidFill>
                  <a:srgbClr val="20212A"/>
                </a:solidFill>
                <a:latin typeface="Calibri"/>
                <a:ea typeface="Calibri"/>
                <a:cs typeface="Calibri"/>
              </a:rPr>
              <a:t>the following</a:t>
            </a:r>
            <a:r>
              <a:rPr kumimoji="0" lang="en-US" sz="1800" b="0" i="0" u="none" strike="noStrike" kern="1200" cap="none" spc="0" normalizeH="0" baseline="0" noProof="0">
                <a:ln>
                  <a:noFill/>
                </a:ln>
                <a:solidFill>
                  <a:srgbClr val="20212A"/>
                </a:solidFill>
                <a:effectLst/>
                <a:uLnTx/>
                <a:uFillTx/>
                <a:latin typeface="Calibri"/>
                <a:ea typeface="Calibri"/>
                <a:cs typeface="Calibri"/>
              </a:rPr>
              <a:t> active certifications</a:t>
            </a:r>
            <a:r>
              <a:rPr lang="en-US">
                <a:solidFill>
                  <a:srgbClr val="20212A"/>
                </a:solidFill>
                <a:latin typeface="Calibri"/>
                <a:ea typeface="Calibri"/>
                <a:cs typeface="Calibri"/>
              </a:rPr>
              <a:t>:</a:t>
            </a:r>
            <a:endParaRPr kumimoji="0" lang="en-US" sz="1800" b="0" i="0" u="none" strike="noStrike" kern="1200" cap="none" spc="0" normalizeH="0" baseline="0" noProof="0">
              <a:ln>
                <a:noFill/>
              </a:ln>
              <a:solidFill>
                <a:srgbClr val="20212A"/>
              </a:solidFill>
              <a:effectLst/>
              <a:uLnTx/>
              <a:uFillTx/>
              <a:latin typeface="Calibri"/>
              <a:ea typeface="Calibri"/>
              <a:cs typeface="Calibri"/>
            </a:endParaRP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32053" y="749155"/>
            <a:ext cx="7344049" cy="1037305"/>
            <a:chOff x="0" y="85725"/>
            <a:chExt cx="6432047" cy="1475278"/>
          </a:xfrm>
        </p:grpSpPr>
        <p:sp>
          <p:nvSpPr>
            <p:cNvPr id="9" name="TextBox 6">
              <a:extLst>
                <a:ext uri="{FF2B5EF4-FFF2-40B4-BE49-F238E27FC236}">
                  <a16:creationId xmlns:a16="http://schemas.microsoft.com/office/drawing/2014/main" id="{4810DB82-4723-AD07-2ED0-BB8017DA18AE}"/>
                </a:ext>
              </a:extLst>
            </p:cNvPr>
            <p:cNvSpPr txBox="1"/>
            <p:nvPr/>
          </p:nvSpPr>
          <p:spPr>
            <a:xfrm>
              <a:off x="0" y="85725"/>
              <a:ext cx="6432047"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QUALIFICATIONS &amp; CERTIFICATIONS</a:t>
              </a:r>
              <a:endParaRPr kumimoji="0" lang="en-US" sz="48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0" y="1411990"/>
              <a:ext cx="677333" cy="149013"/>
            </a:xfrm>
            <a:prstGeom prst="rect">
              <a:avLst/>
            </a:prstGeom>
            <a:solidFill>
              <a:srgbClr val="CCB76A"/>
            </a:solidFill>
          </p:spPr>
          <p:txBody>
            <a:bodyPr/>
            <a:lstStyle/>
            <a:p>
              <a:endParaRPr lang="en-US"/>
            </a:p>
          </p:txBody>
        </p:sp>
      </p:grpSp>
      <p:pic>
        <p:nvPicPr>
          <p:cNvPr id="19" name="Picture 18">
            <a:extLst>
              <a:ext uri="{FF2B5EF4-FFF2-40B4-BE49-F238E27FC236}">
                <a16:creationId xmlns:a16="http://schemas.microsoft.com/office/drawing/2014/main" id="{4A554100-EBEE-436C-9D34-808F11723BF0}"/>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9618273" y="1901704"/>
            <a:ext cx="1151572" cy="525661"/>
          </a:xfrm>
          <a:prstGeom prst="rect">
            <a:avLst/>
          </a:prstGeom>
        </p:spPr>
      </p:pic>
      <p:pic>
        <p:nvPicPr>
          <p:cNvPr id="21" name="Picture 20">
            <a:extLst>
              <a:ext uri="{FF2B5EF4-FFF2-40B4-BE49-F238E27FC236}">
                <a16:creationId xmlns:a16="http://schemas.microsoft.com/office/drawing/2014/main" id="{93EA3639-E1DB-4AF8-9705-FABAFB357E97}"/>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895803" y="1855152"/>
            <a:ext cx="1200866" cy="592426"/>
          </a:xfrm>
          <a:prstGeom prst="rect">
            <a:avLst/>
          </a:prstGeom>
        </p:spPr>
      </p:pic>
      <p:pic>
        <p:nvPicPr>
          <p:cNvPr id="30" name="Picture 29">
            <a:extLst>
              <a:ext uri="{FF2B5EF4-FFF2-40B4-BE49-F238E27FC236}">
                <a16:creationId xmlns:a16="http://schemas.microsoft.com/office/drawing/2014/main" id="{16875D8F-C8A1-425F-866C-7122D00D4519}"/>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3722668" y="5485068"/>
            <a:ext cx="883911" cy="534030"/>
          </a:xfrm>
          <a:prstGeom prst="rect">
            <a:avLst/>
          </a:prstGeom>
        </p:spPr>
      </p:pic>
      <p:pic>
        <p:nvPicPr>
          <p:cNvPr id="34" name="Picture 33">
            <a:extLst>
              <a:ext uri="{FF2B5EF4-FFF2-40B4-BE49-F238E27FC236}">
                <a16:creationId xmlns:a16="http://schemas.microsoft.com/office/drawing/2014/main" id="{C7809A35-344E-4CD4-9000-AE6864E66B39}"/>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0162202" y="5445236"/>
            <a:ext cx="623864" cy="485294"/>
          </a:xfrm>
          <a:prstGeom prst="rect">
            <a:avLst/>
          </a:prstGeom>
        </p:spPr>
      </p:pic>
      <p:pic>
        <p:nvPicPr>
          <p:cNvPr id="35" name="Picture 34">
            <a:extLst>
              <a:ext uri="{FF2B5EF4-FFF2-40B4-BE49-F238E27FC236}">
                <a16:creationId xmlns:a16="http://schemas.microsoft.com/office/drawing/2014/main" id="{7327ED81-2713-4191-B215-C7AA39F8F722}"/>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4685209" y="5475379"/>
            <a:ext cx="1109621" cy="554812"/>
          </a:xfrm>
          <a:prstGeom prst="rect">
            <a:avLst/>
          </a:prstGeom>
        </p:spPr>
      </p:pic>
      <p:pic>
        <p:nvPicPr>
          <p:cNvPr id="36" name="Picture 35">
            <a:extLst>
              <a:ext uri="{FF2B5EF4-FFF2-40B4-BE49-F238E27FC236}">
                <a16:creationId xmlns:a16="http://schemas.microsoft.com/office/drawing/2014/main" id="{8E99FE30-7164-4C55-810D-0D7CD58F6524}"/>
              </a:ext>
            </a:extLst>
          </p:cNvPr>
          <p:cNvPicPr>
            <a:picLocks noChangeAspect="1"/>
          </p:cNvPicPr>
          <p:nvPr/>
        </p:nvPicPr>
        <p:blipFill rotWithShape="1">
          <a:blip r:embed="rId20" cstate="print">
            <a:extLst>
              <a:ext uri="{28A0092B-C50C-407E-A947-70E740481C1C}">
                <a14:useLocalDpi xmlns:a14="http://schemas.microsoft.com/office/drawing/2010/main" val="0"/>
              </a:ext>
            </a:extLst>
          </a:blip>
          <a:srcRect r="7077"/>
          <a:stretch/>
        </p:blipFill>
        <p:spPr>
          <a:xfrm>
            <a:off x="8265176" y="1850212"/>
            <a:ext cx="1184590" cy="578069"/>
          </a:xfrm>
          <a:prstGeom prst="rect">
            <a:avLst/>
          </a:prstGeom>
        </p:spPr>
      </p:pic>
      <p:pic>
        <p:nvPicPr>
          <p:cNvPr id="23" name="Picture 22">
            <a:extLst>
              <a:ext uri="{FF2B5EF4-FFF2-40B4-BE49-F238E27FC236}">
                <a16:creationId xmlns:a16="http://schemas.microsoft.com/office/drawing/2014/main" id="{8DFF8A3A-678A-4A0C-A56E-E13864BF8CBE}"/>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5544491" y="3634742"/>
            <a:ext cx="1027298" cy="1027298"/>
          </a:xfrm>
          <a:prstGeom prst="rect">
            <a:avLst/>
          </a:prstGeom>
        </p:spPr>
      </p:pic>
      <p:pic>
        <p:nvPicPr>
          <p:cNvPr id="27" name="Picture 26">
            <a:extLst>
              <a:ext uri="{FF2B5EF4-FFF2-40B4-BE49-F238E27FC236}">
                <a16:creationId xmlns:a16="http://schemas.microsoft.com/office/drawing/2014/main" id="{3CD62A68-FB78-41C7-B116-8D75976397B8}"/>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8493732" y="4358733"/>
            <a:ext cx="1252982" cy="1252982"/>
          </a:xfrm>
          <a:prstGeom prst="rect">
            <a:avLst/>
          </a:prstGeom>
        </p:spPr>
      </p:pic>
      <p:pic>
        <p:nvPicPr>
          <p:cNvPr id="38" name="Picture 37">
            <a:extLst>
              <a:ext uri="{FF2B5EF4-FFF2-40B4-BE49-F238E27FC236}">
                <a16:creationId xmlns:a16="http://schemas.microsoft.com/office/drawing/2014/main" id="{66D2C8E1-67B4-43EB-AD16-0884C9A1BD6B}"/>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9987524" y="4350441"/>
            <a:ext cx="1019202" cy="1019202"/>
          </a:xfrm>
          <a:prstGeom prst="rect">
            <a:avLst/>
          </a:prstGeom>
        </p:spPr>
      </p:pic>
      <p:pic>
        <p:nvPicPr>
          <p:cNvPr id="40" name="Picture 39">
            <a:extLst>
              <a:ext uri="{FF2B5EF4-FFF2-40B4-BE49-F238E27FC236}">
                <a16:creationId xmlns:a16="http://schemas.microsoft.com/office/drawing/2014/main" id="{5982F8B3-9B39-47D5-9922-2C387960F5C3}"/>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610622" y="2464911"/>
            <a:ext cx="1019202" cy="1019202"/>
          </a:xfrm>
          <a:prstGeom prst="rect">
            <a:avLst/>
          </a:prstGeom>
        </p:spPr>
      </p:pic>
      <p:pic>
        <p:nvPicPr>
          <p:cNvPr id="22" name="Picture 4" descr="GDPR – Certified Data Protection Officer | SKLabs">
            <a:extLst>
              <a:ext uri="{FF2B5EF4-FFF2-40B4-BE49-F238E27FC236}">
                <a16:creationId xmlns:a16="http://schemas.microsoft.com/office/drawing/2014/main" id="{A85F7110-9838-A3E2-D76F-C17F77C2FD67}"/>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5920569" y="5561440"/>
            <a:ext cx="1915291" cy="42741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PECB| Certified ISO 27001 Lead Implementer | SKLabs">
            <a:extLst>
              <a:ext uri="{FF2B5EF4-FFF2-40B4-BE49-F238E27FC236}">
                <a16:creationId xmlns:a16="http://schemas.microsoft.com/office/drawing/2014/main" id="{4E15EBCD-C198-1DF8-E76D-B197CECE544D}"/>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8200849" y="5519785"/>
            <a:ext cx="1739225" cy="39269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Certified Information Privacy Technologist (CIPT) - Intellectual Point">
            <a:extLst>
              <a:ext uri="{FF2B5EF4-FFF2-40B4-BE49-F238E27FC236}">
                <a16:creationId xmlns:a16="http://schemas.microsoft.com/office/drawing/2014/main" id="{DFCCD71C-5ABF-2992-FB1B-22634855FA2E}"/>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4715368" y="2752227"/>
            <a:ext cx="988414" cy="98841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descr="CDPSE – Carmelo Walsh">
            <a:extLst>
              <a:ext uri="{FF2B5EF4-FFF2-40B4-BE49-F238E27FC236}">
                <a16:creationId xmlns:a16="http://schemas.microsoft.com/office/drawing/2014/main" id="{E400D769-74CC-2D68-4E2F-4B1A7C7F5C91}"/>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210343" y="3472333"/>
            <a:ext cx="1145705" cy="1105173"/>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0" descr="CIPM Online Training Certification Course | Pass Your Cert">
            <a:extLst>
              <a:ext uri="{FF2B5EF4-FFF2-40B4-BE49-F238E27FC236}">
                <a16:creationId xmlns:a16="http://schemas.microsoft.com/office/drawing/2014/main" id="{3337D9C4-8638-B864-49F5-240A1090426C}"/>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8599082" y="3561842"/>
            <a:ext cx="993043" cy="9974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075323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6" name="Picture Placeholder 5" descr="A picture containing shape&#10;&#10;Description automatically generated">
            <a:extLst>
              <a:ext uri="{FF2B5EF4-FFF2-40B4-BE49-F238E27FC236}">
                <a16:creationId xmlns:a16="http://schemas.microsoft.com/office/drawing/2014/main" id="{A5B9E398-D58C-4BAA-16D2-EDDF3A8C69C2}"/>
              </a:ext>
            </a:extLst>
          </p:cNvPr>
          <p:cNvPicPr>
            <a:picLocks noGrp="1" noChangeAspect="1"/>
          </p:cNvPicPr>
          <p:nvPr>
            <p:ph type="pic" sz="quarter" idx="10"/>
          </p:nvPr>
        </p:nvPicPr>
        <p:blipFill>
          <a:blip r:embed="rId4" cstate="print">
            <a:duotone>
              <a:schemeClr val="accent2">
                <a:shade val="45000"/>
                <a:satMod val="135000"/>
              </a:schemeClr>
              <a:prstClr val="white"/>
            </a:duotone>
            <a:extLst>
              <a:ext uri="{BEBA8EAE-BF5A-486C-A8C5-ECC9F3942E4B}">
                <a14:imgProps xmlns:a14="http://schemas.microsoft.com/office/drawing/2010/main">
                  <a14:imgLayer r:embed="rId5">
                    <a14:imgEffect>
                      <a14:colorTemperature colorTemp="11500"/>
                    </a14:imgEffect>
                  </a14:imgLayer>
                </a14:imgProps>
              </a:ext>
              <a:ext uri="{28A0092B-C50C-407E-A947-70E740481C1C}">
                <a14:useLocalDpi xmlns:a14="http://schemas.microsoft.com/office/drawing/2010/main" val="0"/>
              </a:ext>
            </a:extLst>
          </a:blip>
          <a:srcRect l="376" r="376"/>
          <a:stretch>
            <a:fillRect/>
          </a:stretch>
        </p:blipFill>
        <p:spPr/>
      </p:pic>
      <p:pic>
        <p:nvPicPr>
          <p:cNvPr id="8" name="Picture Placeholder 7" descr="A picture containing shape&#10;&#10;Description automatically generated">
            <a:extLst>
              <a:ext uri="{FF2B5EF4-FFF2-40B4-BE49-F238E27FC236}">
                <a16:creationId xmlns:a16="http://schemas.microsoft.com/office/drawing/2014/main" id="{3B7DDADF-85A6-CB15-25D0-0B1AF5CFAD11}"/>
              </a:ext>
            </a:extLst>
          </p:cNvPr>
          <p:cNvPicPr>
            <a:picLocks noGrp="1" noChangeAspect="1"/>
          </p:cNvPicPr>
          <p:nvPr>
            <p:ph type="pic" sz="quarter" idx="11"/>
          </p:nvPr>
        </p:nvPicPr>
        <p:blipFill>
          <a:blip r:embed="rId6"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739B1C99-7C32-DDBC-9B83-F1DCBC0A9EF3}"/>
              </a:ext>
            </a:extLst>
          </p:cNvPr>
          <p:cNvSpPr>
            <a:spLocks noGrp="1"/>
          </p:cNvSpPr>
          <p:nvPr>
            <p:ph type="body" sz="quarter" idx="12"/>
          </p:nvPr>
        </p:nvSpPr>
        <p:spPr/>
        <p:txBody>
          <a:bodyPr/>
          <a:lstStyle/>
          <a:p>
            <a:r>
              <a:rPr lang="en-US"/>
              <a:t>FINANCIALS</a:t>
            </a:r>
            <a:endParaRPr lang="en-GB"/>
          </a:p>
        </p:txBody>
      </p:sp>
    </p:spTree>
    <p:extLst>
      <p:ext uri="{BB962C8B-B14F-4D97-AF65-F5344CB8AC3E}">
        <p14:creationId xmlns:p14="http://schemas.microsoft.com/office/powerpoint/2010/main" val="2664772615"/>
      </p:ext>
    </p:extLst>
  </p:cSld>
  <p:clrMapOvr>
    <a:overrideClrMapping bg1="lt1" tx1="dk1" bg2="lt2" tx2="dk2" accent1="accent1" accent2="accent2" accent3="accent3" accent4="accent4" accent5="accent5" accent6="accent6" hlink="hlink" folHlink="folHlink"/>
  </p:clrMapOvr>
  <p:extLst>
    <p:ext uri="{6950BFC3-D8DA-4A85-94F7-54DA5524770B}">
      <p188:commentRel xmlns:p188="http://schemas.microsoft.com/office/powerpoint/2018/8/main" r:id="rId3"/>
    </p:ext>
  </p:extLst>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sp>
        <p:nvSpPr>
          <p:cNvPr id="2" name="AutoShape 2"/>
          <p:cNvSpPr/>
          <p:nvPr/>
        </p:nvSpPr>
        <p:spPr>
          <a:xfrm>
            <a:off x="0" y="-55824"/>
            <a:ext cx="2952750" cy="6328287"/>
          </a:xfrm>
          <a:prstGeom prst="rect">
            <a:avLst/>
          </a:prstGeom>
          <a:solidFill>
            <a:srgbClr val="EDE6E2"/>
          </a:solidFill>
        </p:spPr>
        <p:txBody>
          <a:bodyPr/>
          <a:lstStyle/>
          <a:p>
            <a:endParaRPr lang="en-US"/>
          </a:p>
        </p:txBody>
      </p:sp>
      <p:pic>
        <p:nvPicPr>
          <p:cNvPr id="4" name="Picture 4"/>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a:xfrm>
            <a:off x="513899" y="360864"/>
            <a:ext cx="2847903" cy="5916502"/>
          </a:xfrm>
          <a:prstGeom prst="rect">
            <a:avLst/>
          </a:prstGeom>
        </p:spPr>
      </p:pic>
      <p:sp>
        <p:nvSpPr>
          <p:cNvPr id="5" name="TextBox 5"/>
          <p:cNvSpPr txBox="1"/>
          <p:nvPr/>
        </p:nvSpPr>
        <p:spPr>
          <a:xfrm>
            <a:off x="4101648" y="194137"/>
            <a:ext cx="4522534" cy="443198"/>
          </a:xfrm>
          <a:prstGeom prst="rect">
            <a:avLst/>
          </a:prstGeom>
        </p:spPr>
        <p:txBody>
          <a:bodyPr lIns="0" tIns="0" rIns="0" bIns="0" rtlCol="0" anchor="t">
            <a:spAutoFit/>
          </a:bodyPr>
          <a:lstStyle/>
          <a:p>
            <a:pPr marL="0" marR="0" lvl="0" indent="0" algn="l" defTabSz="914400" rtl="0" eaLnBrk="1" fontAlgn="auto" latinLnBrk="0" hangingPunct="1">
              <a:lnSpc>
                <a:spcPts val="3150"/>
              </a:lnSpc>
              <a:spcBef>
                <a:spcPts val="0"/>
              </a:spcBef>
              <a:spcAft>
                <a:spcPts val="0"/>
              </a:spcAft>
              <a:buClrTx/>
              <a:buSzTx/>
              <a:buFontTx/>
              <a:buNone/>
              <a:tabLst/>
              <a:defRPr/>
            </a:pPr>
            <a:r>
              <a:rPr kumimoji="0" lang="en-US" sz="4000" b="1" i="0" u="none" strike="noStrike" kern="1200" cap="none" spc="158"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FINANCIALS</a:t>
            </a:r>
          </a:p>
        </p:txBody>
      </p:sp>
      <p:sp>
        <p:nvSpPr>
          <p:cNvPr id="6" name="TextBox 6"/>
          <p:cNvSpPr txBox="1"/>
          <p:nvPr/>
        </p:nvSpPr>
        <p:spPr>
          <a:xfrm>
            <a:off x="5646092" y="1729131"/>
            <a:ext cx="4524575" cy="256480"/>
          </a:xfrm>
          <a:prstGeom prst="rect">
            <a:avLst/>
          </a:prstGeom>
        </p:spPr>
        <p:txBody>
          <a:bodyPr lIns="0" tIns="0" rIns="0" bIns="0" rtlCol="0" anchor="t">
            <a:spAutoFit/>
          </a:bodyPr>
          <a:lstStyle/>
          <a:p>
            <a:pPr marL="0" marR="0" lvl="0" indent="0" algn="l" defTabSz="914400" rtl="0" eaLnBrk="1" fontAlgn="auto" latinLnBrk="0" hangingPunct="1">
              <a:lnSpc>
                <a:spcPts val="2025"/>
              </a:lnSpc>
              <a:spcBef>
                <a:spcPts val="0"/>
              </a:spcBef>
              <a:spcAft>
                <a:spcPts val="0"/>
              </a:spcAft>
              <a:buClrTx/>
              <a:buSzTx/>
              <a:buFontTx/>
              <a:buNone/>
              <a:tabLst/>
              <a:defRPr/>
            </a:pPr>
            <a:endParaRPr kumimoji="0" sz="1688"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7" name="AutoShape 7"/>
          <p:cNvSpPr/>
          <p:nvPr/>
        </p:nvSpPr>
        <p:spPr>
          <a:xfrm>
            <a:off x="4101648" y="985620"/>
            <a:ext cx="476250" cy="104775"/>
          </a:xfrm>
          <a:prstGeom prst="rect">
            <a:avLst/>
          </a:prstGeom>
          <a:solidFill>
            <a:srgbClr val="CCB76A"/>
          </a:solidFill>
        </p:spPr>
        <p:txBody>
          <a:bodyPr/>
          <a:lstStyle/>
          <a:p>
            <a:endParaRPr lang="en-US"/>
          </a:p>
        </p:txBody>
      </p:sp>
      <p:graphicFrame>
        <p:nvGraphicFramePr>
          <p:cNvPr id="8" name="Table 7"/>
          <p:cNvGraphicFramePr>
            <a:graphicFrameLocks noGrp="1"/>
          </p:cNvGraphicFramePr>
          <p:nvPr>
            <p:extLst>
              <p:ext uri="{D42A27DB-BD31-4B8C-83A1-F6EECF244321}">
                <p14:modId xmlns:p14="http://schemas.microsoft.com/office/powerpoint/2010/main" val="2072589021"/>
              </p:ext>
            </p:extLst>
          </p:nvPr>
        </p:nvGraphicFramePr>
        <p:xfrm>
          <a:off x="3875701" y="637335"/>
          <a:ext cx="7546475" cy="3708561"/>
        </p:xfrm>
        <a:graphic>
          <a:graphicData uri="http://schemas.openxmlformats.org/drawingml/2006/table">
            <a:tbl>
              <a:tblPr firstRow="1" bandRow="1">
                <a:tableStyleId>{93296810-A885-4BE3-A3E7-6D5BEEA58F35}</a:tableStyleId>
              </a:tblPr>
              <a:tblGrid>
                <a:gridCol w="804958">
                  <a:extLst>
                    <a:ext uri="{9D8B030D-6E8A-4147-A177-3AD203B41FA5}">
                      <a16:colId xmlns:a16="http://schemas.microsoft.com/office/drawing/2014/main" val="20000"/>
                    </a:ext>
                  </a:extLst>
                </a:gridCol>
                <a:gridCol w="4226025">
                  <a:extLst>
                    <a:ext uri="{9D8B030D-6E8A-4147-A177-3AD203B41FA5}">
                      <a16:colId xmlns:a16="http://schemas.microsoft.com/office/drawing/2014/main" val="20001"/>
                    </a:ext>
                  </a:extLst>
                </a:gridCol>
                <a:gridCol w="2515492">
                  <a:extLst>
                    <a:ext uri="{9D8B030D-6E8A-4147-A177-3AD203B41FA5}">
                      <a16:colId xmlns:a16="http://schemas.microsoft.com/office/drawing/2014/main" val="20002"/>
                    </a:ext>
                  </a:extLst>
                </a:gridCol>
              </a:tblGrid>
              <a:tr h="365251">
                <a:tc>
                  <a:txBody>
                    <a:bodyPr/>
                    <a:lstStyle/>
                    <a:p>
                      <a:pPr algn="ctr"/>
                      <a:r>
                        <a:rPr lang="en-US" sz="1800"/>
                        <a:t>Sr. No.</a:t>
                      </a:r>
                    </a:p>
                  </a:txBody>
                  <a:tcPr marL="85725" marR="85725" marT="42863" marB="42863" anchor="ctr">
                    <a:solidFill>
                      <a:srgbClr val="000000"/>
                    </a:solidFill>
                  </a:tcPr>
                </a:tc>
                <a:tc>
                  <a:txBody>
                    <a:bodyPr/>
                    <a:lstStyle/>
                    <a:p>
                      <a:pPr algn="ctr"/>
                      <a:r>
                        <a:rPr lang="en-US" sz="1800"/>
                        <a:t>Deliverables</a:t>
                      </a:r>
                    </a:p>
                  </a:txBody>
                  <a:tcPr marL="85725" marR="85725" marT="42863" marB="42863" anchor="ctr">
                    <a:solidFill>
                      <a:srgbClr val="000000"/>
                    </a:solidFill>
                  </a:tcPr>
                </a:tc>
                <a:tc>
                  <a:txBody>
                    <a:bodyPr/>
                    <a:lstStyle/>
                    <a:p>
                      <a:pPr algn="ctr"/>
                      <a:r>
                        <a:rPr lang="en-US" sz="1800"/>
                        <a:t>Amount SAR</a:t>
                      </a:r>
                    </a:p>
                  </a:txBody>
                  <a:tcPr marL="85725" marR="85725" marT="42863" marB="42863" anchor="ctr">
                    <a:solidFill>
                      <a:srgbClr val="000000"/>
                    </a:solidFill>
                  </a:tcPr>
                </a:tc>
                <a:extLst>
                  <a:ext uri="{0D108BD9-81ED-4DB2-BD59-A6C34878D82A}">
                    <a16:rowId xmlns:a16="http://schemas.microsoft.com/office/drawing/2014/main" val="10000"/>
                  </a:ext>
                </a:extLst>
              </a:tr>
              <a:tr h="334331">
                <a:tc>
                  <a:txBody>
                    <a:bodyPr/>
                    <a:lstStyle/>
                    <a:p>
                      <a:pPr marL="0" algn="ctr" defTabSz="914400" rtl="0" eaLnBrk="1" latinLnBrk="0" hangingPunct="1"/>
                      <a:r>
                        <a:rPr lang="en-US" sz="1600" b="1" kern="1200">
                          <a:solidFill>
                            <a:schemeClr val="dk1"/>
                          </a:solidFill>
                          <a:latin typeface="+mn-lt"/>
                          <a:ea typeface="+mn-ea"/>
                          <a:cs typeface="+mn-cs"/>
                        </a:rPr>
                        <a:t>1</a:t>
                      </a:r>
                    </a:p>
                  </a:txBody>
                  <a:tcPr marL="85725" marR="85725" marT="42863" marB="42863" anchor="ctr">
                    <a:solidFill>
                      <a:srgbClr val="CCB76A"/>
                    </a:solidFill>
                  </a:tcPr>
                </a:tc>
                <a:tc>
                  <a:txBody>
                    <a:bodyPr/>
                    <a:lstStyle/>
                    <a:p>
                      <a:r>
                        <a:t>Dummy Deliverable 1</a:t>
                      </a:r>
                    </a:p>
                  </a:txBody>
                  <a:tcPr marL="85725" marR="85725" marT="42863" marB="42863" anchor="ctr">
                    <a:solidFill>
                      <a:srgbClr val="CCB76A"/>
                    </a:solidFill>
                  </a:tcPr>
                </a:tc>
                <a:tc>
                  <a:txBody>
                    <a:bodyPr/>
                    <a:lstStyle/>
                    <a:p>
                      <a:r>
                        <a:t>$100</a:t>
                      </a:r>
                    </a:p>
                  </a:txBody>
                  <a:tcPr marL="85725" marR="85725" marT="42863" marB="42863" anchor="ctr">
                    <a:solidFill>
                      <a:srgbClr val="CCB76A"/>
                    </a:solidFill>
                  </a:tcPr>
                </a:tc>
                <a:extLst>
                  <a:ext uri="{0D108BD9-81ED-4DB2-BD59-A6C34878D82A}">
                    <a16:rowId xmlns:a16="http://schemas.microsoft.com/office/drawing/2014/main" val="10002"/>
                  </a:ext>
                </a:extLst>
              </a:tr>
              <a:tr h="334331">
                <a:tc>
                  <a:txBody>
                    <a:bodyPr/>
                    <a:lstStyle/>
                    <a:p>
                      <a:pPr marL="0" algn="ctr" defTabSz="914400" rtl="0" eaLnBrk="1" latinLnBrk="0" hangingPunct="1"/>
                      <a:r>
                        <a:rPr lang="en-US" sz="1600" b="1" kern="1200">
                          <a:solidFill>
                            <a:schemeClr val="dk1"/>
                          </a:solidFill>
                          <a:latin typeface="+mn-lt"/>
                          <a:ea typeface="+mn-ea"/>
                          <a:cs typeface="+mn-cs"/>
                        </a:rPr>
                        <a:t>2</a:t>
                      </a:r>
                    </a:p>
                  </a:txBody>
                  <a:tcPr marL="85725" marR="85725" marT="42863" marB="42863" anchor="ctr">
                    <a:solidFill>
                      <a:srgbClr val="CCB76A"/>
                    </a:solidFill>
                  </a:tcPr>
                </a:tc>
                <a:tc>
                  <a:txBody>
                    <a:bodyPr/>
                    <a:lstStyle/>
                    <a:p>
                      <a:r>
                        <a:t>Dummy Deliverable 2</a:t>
                      </a:r>
                    </a:p>
                  </a:txBody>
                  <a:tcPr marL="85725" marR="85725" marT="42863" marB="42863" anchor="ctr">
                    <a:solidFill>
                      <a:srgbClr val="CCB76A"/>
                    </a:solidFill>
                  </a:tcPr>
                </a:tc>
                <a:tc>
                  <a:txBody>
                    <a:bodyPr/>
                    <a:lstStyle/>
                    <a:p>
                      <a:r>
                        <a:t>$200</a:t>
                      </a:r>
                    </a:p>
                  </a:txBody>
                  <a:tcPr marL="85725" marR="85725" marT="42863" marB="42863" anchor="ctr">
                    <a:solidFill>
                      <a:srgbClr val="CCB76A"/>
                    </a:solidFill>
                  </a:tcPr>
                </a:tc>
                <a:extLst>
                  <a:ext uri="{0D108BD9-81ED-4DB2-BD59-A6C34878D82A}">
                    <a16:rowId xmlns:a16="http://schemas.microsoft.com/office/drawing/2014/main" val="1750746448"/>
                  </a:ext>
                </a:extLst>
              </a:tr>
              <a:tr h="334331">
                <a:tc>
                  <a:txBody>
                    <a:bodyPr/>
                    <a:lstStyle/>
                    <a:p>
                      <a:pPr marL="0" algn="ctr" defTabSz="914400" rtl="0" eaLnBrk="1" latinLnBrk="0" hangingPunct="1"/>
                      <a:r>
                        <a:rPr lang="en-US" sz="1600" b="1" kern="1200">
                          <a:solidFill>
                            <a:schemeClr val="dk1"/>
                          </a:solidFill>
                          <a:latin typeface="+mn-lt"/>
                          <a:ea typeface="+mn-ea"/>
                          <a:cs typeface="+mn-cs"/>
                        </a:rPr>
                        <a:t>3</a:t>
                      </a:r>
                    </a:p>
                  </a:txBody>
                  <a:tcPr marL="85725" marR="85725" marT="42863" marB="42863" anchor="ctr">
                    <a:solidFill>
                      <a:srgbClr val="CCB76A"/>
                    </a:solidFill>
                  </a:tcPr>
                </a:tc>
                <a:tc>
                  <a:txBody>
                    <a:bodyPr/>
                    <a:lstStyle/>
                    <a:p>
                      <a:r>
                        <a:t>Dummy Deliverable 3</a:t>
                      </a:r>
                    </a:p>
                  </a:txBody>
                  <a:tcPr marL="85725" marR="85725" marT="42863" marB="42863" anchor="ctr">
                    <a:solidFill>
                      <a:srgbClr val="CCB76A"/>
                    </a:solidFill>
                  </a:tcPr>
                </a:tc>
                <a:tc>
                  <a:txBody>
                    <a:bodyPr/>
                    <a:lstStyle/>
                    <a:p>
                      <a:r>
                        <a:t>$300</a:t>
                      </a:r>
                    </a:p>
                  </a:txBody>
                  <a:tcPr marL="85725" marR="85725" marT="42863" marB="42863" anchor="ctr">
                    <a:solidFill>
                      <a:srgbClr val="CCB76A"/>
                    </a:solidFill>
                  </a:tcPr>
                </a:tc>
                <a:extLst>
                  <a:ext uri="{0D108BD9-81ED-4DB2-BD59-A6C34878D82A}">
                    <a16:rowId xmlns:a16="http://schemas.microsoft.com/office/drawing/2014/main" val="1412901797"/>
                  </a:ext>
                </a:extLst>
              </a:tr>
              <a:tr h="334331">
                <a:tc gridSpan="2">
                  <a:txBody>
                    <a:bodyPr/>
                    <a:lstStyle/>
                    <a:p>
                      <a:pPr marL="0" algn="r" defTabSz="914400" rtl="0" eaLnBrk="1" latinLnBrk="0" hangingPunct="1"/>
                      <a:r>
                        <a:rPr lang="en-US" sz="1600" b="1" kern="1200">
                          <a:solidFill>
                            <a:schemeClr val="bg1"/>
                          </a:solidFill>
                          <a:latin typeface="+mn-lt"/>
                          <a:ea typeface="+mn-ea"/>
                          <a:cs typeface="+mn-cs"/>
                        </a:rPr>
                        <a:t>Total</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solidFill>
                      <a:schemeClr val="accent6"/>
                    </a:solidFill>
                  </a:tcPr>
                </a:tc>
                <a:tc>
                  <a:txBody>
                    <a:bodyPr/>
                    <a:lstStyle/>
                    <a:p>
                      <a:r>
                        <a:rPr>
                          <a:solidFill>
                            <a:srgbClr val="FFFFFF"/>
                          </a:solidFill>
                        </a:rPr>
                        <a:t>$1150.00</a:t>
                      </a:r>
                    </a:p>
                  </a:txBody>
                  <a:tcPr marL="85725" marR="85725" marT="42863" marB="42863">
                    <a:noFill/>
                  </a:tcPr>
                </a:tc>
                <a:extLst>
                  <a:ext uri="{0D108BD9-81ED-4DB2-BD59-A6C34878D82A}">
                    <a16:rowId xmlns:a16="http://schemas.microsoft.com/office/drawing/2014/main" val="10003"/>
                  </a:ext>
                </a:extLst>
              </a:tr>
              <a:tr h="334331">
                <a:tc gridSpan="2">
                  <a:txBody>
                    <a:bodyPr/>
                    <a:lstStyle/>
                    <a:p>
                      <a:pPr marL="0" algn="r" defTabSz="914400" rtl="0" eaLnBrk="1" latinLnBrk="0" hangingPunct="1"/>
                      <a:endParaRPr lang="en-US" sz="1600" b="1" kern="1200">
                        <a:solidFill>
                          <a:srgbClr val="FF0000"/>
                        </a:solidFill>
                        <a:latin typeface="+mn-lt"/>
                        <a:ea typeface="+mn-ea"/>
                        <a:cs typeface="+mn-cs"/>
                      </a:endParaRPr>
                    </a:p>
                  </a:txBody>
                  <a:tcPr marL="85725" marR="85725" marT="42863" marB="42863" anchor="ctr">
                    <a:noFill/>
                  </a:tcPr>
                </a:tc>
                <a:tc hMerge="1">
                  <a:txBody>
                    <a:bodyPr/>
                    <a:lstStyle/>
                    <a:p>
                      <a:endParaRPr lang="en-GB"/>
                    </a:p>
                  </a:txBody>
                  <a:tcPr/>
                </a:tc>
                <a:tc>
                  <a:txBody>
                    <a:bodyPr/>
                    <a:lstStyle/>
                    <a:p>
                      <a:pPr marL="0" algn="l" defTabSz="914400" rtl="0" eaLnBrk="1" latinLnBrk="0" hangingPunct="1"/>
                      <a:endParaRPr lang="en-US" sz="1600" b="1" kern="1200">
                        <a:solidFill>
                          <a:srgbClr val="FF0000"/>
                        </a:solidFill>
                        <a:latin typeface="+mn-lt"/>
                        <a:ea typeface="+mn-ea"/>
                        <a:cs typeface="+mn-cs"/>
                      </a:endParaRPr>
                    </a:p>
                  </a:txBody>
                  <a:tcPr marL="85725" marR="85725" marT="42863" marB="42863">
                    <a:noFill/>
                  </a:tcPr>
                </a:tc>
                <a:extLst>
                  <a:ext uri="{0D108BD9-81ED-4DB2-BD59-A6C34878D82A}">
                    <a16:rowId xmlns:a16="http://schemas.microsoft.com/office/drawing/2014/main" val="1555313951"/>
                  </a:ext>
                </a:extLst>
              </a:tr>
              <a:tr h="334331">
                <a:tc gridSpan="2">
                  <a:txBody>
                    <a:bodyPr/>
                    <a:lstStyle/>
                    <a:p>
                      <a:pPr marL="0" algn="r" defTabSz="914400" rtl="0" eaLnBrk="1" latinLnBrk="0" hangingPunct="1"/>
                      <a:r>
                        <a:rPr lang="en-US" sz="1600" b="1" kern="1200">
                          <a:solidFill>
                            <a:schemeClr val="bg1"/>
                          </a:solidFill>
                          <a:latin typeface="+mn-lt"/>
                          <a:ea typeface="+mn-ea"/>
                          <a:cs typeface="+mn-cs"/>
                        </a:rPr>
                        <a:t>Total without VAT</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tc>
                <a:tc>
                  <a:txBody>
                    <a:bodyPr/>
                    <a:lstStyle/>
                    <a:p>
                      <a:r>
                        <a:rPr>
                          <a:solidFill>
                            <a:srgbClr val="FFFFFF"/>
                          </a:solidFill>
                        </a:rPr>
                        <a:t>$1000.00</a:t>
                      </a:r>
                    </a:p>
                  </a:txBody>
                  <a:tcPr marL="85725" marR="85725" marT="42863" marB="42863">
                    <a:noFill/>
                  </a:tcPr>
                </a:tc>
                <a:extLst>
                  <a:ext uri="{0D108BD9-81ED-4DB2-BD59-A6C34878D82A}">
                    <a16:rowId xmlns:a16="http://schemas.microsoft.com/office/drawing/2014/main" val="529514081"/>
                  </a:ext>
                </a:extLst>
              </a:tr>
            </a:tbl>
          </a:graphicData>
        </a:graphic>
      </p:graphicFrame>
      <p:pic>
        <p:nvPicPr>
          <p:cNvPr id="11" name="Picture 4">
            <a:extLst>
              <a:ext uri="{FF2B5EF4-FFF2-40B4-BE49-F238E27FC236}">
                <a16:creationId xmlns:a16="http://schemas.microsoft.com/office/drawing/2014/main" id="{045FD90E-03A6-5C27-84A4-92681F1EB37D}"/>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p:blipFill>
        <p:spPr>
          <a:xfrm rot="-10800000">
            <a:off x="11280150" y="5986641"/>
            <a:ext cx="477524" cy="477524"/>
          </a:xfrm>
          <a:prstGeom prst="rect">
            <a:avLst/>
          </a:prstGeom>
        </p:spPr>
      </p:pic>
      <p:sp>
        <p:nvSpPr>
          <p:cNvPr id="9" name="TextBox 8">
            <a:extLst>
              <a:ext uri="{FF2B5EF4-FFF2-40B4-BE49-F238E27FC236}">
                <a16:creationId xmlns:a16="http://schemas.microsoft.com/office/drawing/2014/main" id="{56814C69-B919-EA46-9F6D-266DB3BC0E82}"/>
              </a:ext>
            </a:extLst>
          </p:cNvPr>
          <p:cNvSpPr txBox="1"/>
          <p:nvPr/>
        </p:nvSpPr>
        <p:spPr>
          <a:xfrm>
            <a:off x="4061907" y="4311760"/>
            <a:ext cx="7174061" cy="1908215"/>
          </a:xfrm>
          <a:prstGeom prst="rect">
            <a:avLst/>
          </a:prstGeom>
          <a:noFill/>
        </p:spPr>
        <p:txBody>
          <a:bodyPr wrap="square" rtlCol="0">
            <a:spAutoFit/>
          </a:bodyPr>
          <a:lstStyle/>
          <a:p>
            <a:r>
              <a:rPr lang="en-US">
                <a:solidFill>
                  <a:schemeClr val="bg1"/>
                </a:solidFill>
              </a:rPr>
              <a:t>Payment Terms:</a:t>
            </a:r>
          </a:p>
          <a:p>
            <a:pPr marL="742950" lvl="1" indent="-285750">
              <a:buFont typeface="Arial" panose="020B0604020202020204" pitchFamily="34" charset="0"/>
              <a:buChar char="•"/>
            </a:pPr>
            <a:r>
              <a:rPr lang="en-US" sz="1800">
                <a:solidFill>
                  <a:schemeClr val="bg1"/>
                </a:solidFill>
              </a:rPr>
              <a:t>Price above does not include KSA VAT, </a:t>
            </a:r>
          </a:p>
          <a:p>
            <a:pPr marL="742950" lvl="1" indent="-285750">
              <a:buFont typeface="Arial" panose="020B0604020202020204" pitchFamily="34" charset="0"/>
              <a:buChar char="•"/>
            </a:pPr>
            <a:r>
              <a:rPr lang="en-US">
                <a:solidFill>
                  <a:schemeClr val="bg1"/>
                </a:solidFill>
              </a:rPr>
              <a:t>4</a:t>
            </a:r>
            <a:r>
              <a:rPr lang="en-US" sz="1800">
                <a:solidFill>
                  <a:schemeClr val="bg1"/>
                </a:solidFill>
              </a:rPr>
              <a:t>0% on signing on and Awarding </a:t>
            </a:r>
          </a:p>
          <a:p>
            <a:pPr marL="742950" lvl="1" indent="-285750">
              <a:buFont typeface="Arial" panose="020B0604020202020204" pitchFamily="34" charset="0"/>
              <a:buChar char="•"/>
            </a:pPr>
            <a:r>
              <a:rPr lang="en-US">
                <a:solidFill>
                  <a:schemeClr val="bg1"/>
                </a:solidFill>
              </a:rPr>
              <a:t>3</a:t>
            </a:r>
            <a:r>
              <a:rPr lang="en-US" sz="1800">
                <a:solidFill>
                  <a:schemeClr val="bg1"/>
                </a:solidFill>
              </a:rPr>
              <a:t>0% after 1 month of PO</a:t>
            </a:r>
          </a:p>
          <a:p>
            <a:pPr marL="742950" lvl="1" indent="-285750">
              <a:buFont typeface="Arial" panose="020B0604020202020204" pitchFamily="34" charset="0"/>
              <a:buChar char="•"/>
            </a:pPr>
            <a:r>
              <a:rPr lang="en-US">
                <a:solidFill>
                  <a:schemeClr val="bg1"/>
                </a:solidFill>
              </a:rPr>
              <a:t>30% with project sign off</a:t>
            </a:r>
            <a:endParaRPr lang="en-US" sz="1800">
              <a:solidFill>
                <a:schemeClr val="bg1"/>
              </a:solidFill>
            </a:endParaRPr>
          </a:p>
          <a:p>
            <a:endParaRPr lang="en-US">
              <a:solidFill>
                <a:schemeClr val="bg1"/>
              </a:solidFill>
            </a:endParaRPr>
          </a:p>
          <a:p>
            <a:endParaRPr lang="en-US" sz="1000">
              <a:solidFill>
                <a:schemeClr val="bg1"/>
              </a:solidFill>
            </a:endParaRPr>
          </a:p>
        </p:txBody>
      </p:sp>
    </p:spTree>
    <p:extLst>
      <p:ext uri="{BB962C8B-B14F-4D97-AF65-F5344CB8AC3E}">
        <p14:creationId xmlns:p14="http://schemas.microsoft.com/office/powerpoint/2010/main" val="3027995233"/>
      </p:ext>
    </p:extLst>
  </p:cSld>
  <p:clrMapOvr>
    <a:overrideClrMapping bg1="lt1" tx1="dk1" bg2="lt2" tx2="dk2" accent1="accent1" accent2="accent2" accent3="accent3" accent4="accent4" accent5="accent5" accent6="accent6" hlink="hlink" folHlink="folHlink"/>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AutoShape 2"/>
          <p:cNvSpPr/>
          <p:nvPr/>
        </p:nvSpPr>
        <p:spPr>
          <a:xfrm>
            <a:off x="6626610" y="-3786"/>
            <a:ext cx="4136640" cy="6613134"/>
          </a:xfrm>
          <a:prstGeom prst="rect">
            <a:avLst/>
          </a:prstGeom>
          <a:solidFill>
            <a:srgbClr val="20212A"/>
          </a:solidFill>
        </p:spPr>
        <p:txBody>
          <a:bodyPr/>
          <a:lstStyle/>
          <a:p>
            <a:endParaRPr lang="en-US"/>
          </a:p>
        </p:txBody>
      </p:sp>
      <p:pic>
        <p:nvPicPr>
          <p:cNvPr id="3" name="Picture 3"/>
          <p:cNvPicPr>
            <a:picLocks noChangeAspect="1"/>
          </p:cNvPicPr>
          <p:nvPr/>
        </p:nvPicPr>
        <p:blipFill>
          <a:blip r:embed="rId3" cstate="print">
            <a:alphaModFix amt="30000"/>
            <a:extLst>
              <a:ext uri="{28A0092B-C50C-407E-A947-70E740481C1C}">
                <a14:useLocalDpi xmlns:a14="http://schemas.microsoft.com/office/drawing/2010/main" val="0"/>
              </a:ext>
            </a:extLst>
          </a:blip>
          <a:srcRect/>
          <a:stretch>
            <a:fillRect/>
          </a:stretch>
        </p:blipFill>
        <p:spPr>
          <a:xfrm>
            <a:off x="6609593" y="-7478"/>
            <a:ext cx="4173393" cy="6616825"/>
          </a:xfrm>
          <a:prstGeom prst="rect">
            <a:avLst/>
          </a:prstGeom>
        </p:spPr>
      </p:pic>
      <p:sp>
        <p:nvSpPr>
          <p:cNvPr id="22"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5" name="Freeform 12">
            <a:extLst>
              <a:ext uri="{FF2B5EF4-FFF2-40B4-BE49-F238E27FC236}">
                <a16:creationId xmlns:a16="http://schemas.microsoft.com/office/drawing/2014/main" id="{93D14ED2-2DAD-0FDD-9E4F-B777AC6EB660}"/>
              </a:ext>
            </a:extLst>
          </p:cNvPr>
          <p:cNvSpPr/>
          <p:nvPr/>
        </p:nvSpPr>
        <p:spPr>
          <a:xfrm>
            <a:off x="360651" y="346390"/>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grpSp>
        <p:nvGrpSpPr>
          <p:cNvPr id="7" name="Group 4">
            <a:extLst>
              <a:ext uri="{FF2B5EF4-FFF2-40B4-BE49-F238E27FC236}">
                <a16:creationId xmlns:a16="http://schemas.microsoft.com/office/drawing/2014/main" id="{883752F2-B882-A524-598E-E74782A13097}"/>
              </a:ext>
            </a:extLst>
          </p:cNvPr>
          <p:cNvGrpSpPr/>
          <p:nvPr/>
        </p:nvGrpSpPr>
        <p:grpSpPr>
          <a:xfrm>
            <a:off x="6832916" y="532169"/>
            <a:ext cx="3412603" cy="951997"/>
            <a:chOff x="0" y="52471"/>
            <a:chExt cx="4550138" cy="1269331"/>
          </a:xfrm>
        </p:grpSpPr>
        <p:sp>
          <p:nvSpPr>
            <p:cNvPr id="8" name="TextBox 5">
              <a:extLst>
                <a:ext uri="{FF2B5EF4-FFF2-40B4-BE49-F238E27FC236}">
                  <a16:creationId xmlns:a16="http://schemas.microsoft.com/office/drawing/2014/main" id="{17794927-7752-C2F8-809C-F61381B7469A}"/>
                </a:ext>
              </a:extLst>
            </p:cNvPr>
            <p:cNvSpPr txBox="1"/>
            <p:nvPr/>
          </p:nvSpPr>
          <p:spPr>
            <a:xfrm>
              <a:off x="0" y="52471"/>
              <a:ext cx="4550138" cy="832194"/>
            </a:xfrm>
            <a:prstGeom prst="rect">
              <a:avLst/>
            </a:prstGeom>
          </p:spPr>
          <p:txBody>
            <a:bodyPr lIns="0" tIns="0" rIns="0" bIns="0" rtlCol="0" anchor="t">
              <a:spAutoFit/>
            </a:bodyPr>
            <a:lstStyle/>
            <a:p>
              <a:pPr marL="0" marR="0" lvl="0" indent="0" algn="r" defTabSz="914400" rtl="0" eaLnBrk="1" fontAlgn="auto" latinLnBrk="0" hangingPunct="1">
                <a:lnSpc>
                  <a:spcPts val="4799"/>
                </a:lnSpc>
                <a:spcBef>
                  <a:spcPts val="0"/>
                </a:spcBef>
                <a:spcAft>
                  <a:spcPts val="0"/>
                </a:spcAft>
                <a:buClrTx/>
                <a:buSzTx/>
                <a:buFontTx/>
                <a:buNone/>
                <a:tabLst/>
                <a:defRPr/>
              </a:pPr>
              <a:r>
                <a:rPr kumimoji="0" lang="en-US" sz="4000" b="1" i="0" u="none" strike="noStrike" kern="1200" cap="none" spc="-4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NTACT US</a:t>
              </a:r>
            </a:p>
          </p:txBody>
        </p:sp>
        <p:sp>
          <p:nvSpPr>
            <p:cNvPr id="9" name="AutoShape 6">
              <a:extLst>
                <a:ext uri="{FF2B5EF4-FFF2-40B4-BE49-F238E27FC236}">
                  <a16:creationId xmlns:a16="http://schemas.microsoft.com/office/drawing/2014/main" id="{63B5388D-1592-EF0A-23DC-FE586A8F5B35}"/>
                </a:ext>
              </a:extLst>
            </p:cNvPr>
            <p:cNvSpPr/>
            <p:nvPr/>
          </p:nvSpPr>
          <p:spPr>
            <a:xfrm>
              <a:off x="3872805" y="1172789"/>
              <a:ext cx="677333" cy="149013"/>
            </a:xfrm>
            <a:prstGeom prst="rect">
              <a:avLst/>
            </a:prstGeom>
            <a:solidFill>
              <a:srgbClr val="CCB76A"/>
            </a:solidFill>
          </p:spPr>
          <p:txBody>
            <a:bodyPr/>
            <a:lstStyle/>
            <a:p>
              <a:endParaRPr lang="en-US"/>
            </a:p>
          </p:txBody>
        </p:sp>
      </p:grpSp>
      <p:sp>
        <p:nvSpPr>
          <p:cNvPr id="4" name="TextBox 10">
            <a:extLst>
              <a:ext uri="{FF2B5EF4-FFF2-40B4-BE49-F238E27FC236}">
                <a16:creationId xmlns:a16="http://schemas.microsoft.com/office/drawing/2014/main" id="{4D9EE1E7-0EBE-C6DE-40E7-31E2CCE2D3BF}"/>
              </a:ext>
            </a:extLst>
          </p:cNvPr>
          <p:cNvSpPr txBox="1"/>
          <p:nvPr/>
        </p:nvSpPr>
        <p:spPr>
          <a:xfrm>
            <a:off x="869758" y="609282"/>
            <a:ext cx="4370473" cy="2420534"/>
          </a:xfrm>
          <a:prstGeom prst="rect">
            <a:avLst/>
          </a:prstGeom>
        </p:spPr>
        <p:txBody>
          <a:bodyPr wrap="square"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UBAI, UAE</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RIYADH, KS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OHA, QATAR</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ANAMA, BAHRAIN</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ELBOURNE, AUSTRALI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SLAMABAD, PAKISTAN</a:t>
            </a:r>
          </a:p>
        </p:txBody>
      </p:sp>
      <p:grpSp>
        <p:nvGrpSpPr>
          <p:cNvPr id="5" name="Group 15">
            <a:extLst>
              <a:ext uri="{FF2B5EF4-FFF2-40B4-BE49-F238E27FC236}">
                <a16:creationId xmlns:a16="http://schemas.microsoft.com/office/drawing/2014/main" id="{C2FD2F9F-6C5D-B81A-B69E-2C86A1C18242}"/>
              </a:ext>
            </a:extLst>
          </p:cNvPr>
          <p:cNvGrpSpPr/>
          <p:nvPr/>
        </p:nvGrpSpPr>
        <p:grpSpPr>
          <a:xfrm>
            <a:off x="838199" y="3319818"/>
            <a:ext cx="4449210" cy="2561171"/>
            <a:chOff x="320263" y="196239"/>
            <a:chExt cx="6327765" cy="3428501"/>
          </a:xfrm>
        </p:grpSpPr>
        <p:sp>
          <p:nvSpPr>
            <p:cNvPr id="6" name="TextBox 16">
              <a:extLst>
                <a:ext uri="{FF2B5EF4-FFF2-40B4-BE49-F238E27FC236}">
                  <a16:creationId xmlns:a16="http://schemas.microsoft.com/office/drawing/2014/main" id="{D85896F8-18E1-E6C5-96AF-FB2830D68734}"/>
                </a:ext>
              </a:extLst>
            </p:cNvPr>
            <p:cNvSpPr txBox="1"/>
            <p:nvPr/>
          </p:nvSpPr>
          <p:spPr>
            <a:xfrm>
              <a:off x="373621" y="2723763"/>
              <a:ext cx="6231752"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MAIL ADDRESS</a:t>
              </a:r>
            </a:p>
          </p:txBody>
        </p:sp>
        <p:sp>
          <p:nvSpPr>
            <p:cNvPr id="11" name="TextBox 17">
              <a:extLst>
                <a:ext uri="{FF2B5EF4-FFF2-40B4-BE49-F238E27FC236}">
                  <a16:creationId xmlns:a16="http://schemas.microsoft.com/office/drawing/2014/main" id="{392C8B53-6460-4B2A-CE9E-FC0BA975D438}"/>
                </a:ext>
              </a:extLst>
            </p:cNvPr>
            <p:cNvSpPr txBox="1"/>
            <p:nvPr/>
          </p:nvSpPr>
          <p:spPr>
            <a:xfrm>
              <a:off x="416276" y="3212222"/>
              <a:ext cx="6231752" cy="412518"/>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nfo@grc360.net</a:t>
              </a:r>
            </a:p>
          </p:txBody>
        </p:sp>
        <p:sp>
          <p:nvSpPr>
            <p:cNvPr id="12" name="TextBox 18">
              <a:extLst>
                <a:ext uri="{FF2B5EF4-FFF2-40B4-BE49-F238E27FC236}">
                  <a16:creationId xmlns:a16="http://schemas.microsoft.com/office/drawing/2014/main" id="{794B772B-029E-A898-5571-5160657CE25D}"/>
                </a:ext>
              </a:extLst>
            </p:cNvPr>
            <p:cNvSpPr txBox="1"/>
            <p:nvPr/>
          </p:nvSpPr>
          <p:spPr>
            <a:xfrm>
              <a:off x="359677" y="1256820"/>
              <a:ext cx="6231747"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HONE NUMBER</a:t>
              </a:r>
            </a:p>
          </p:txBody>
        </p:sp>
        <p:sp>
          <p:nvSpPr>
            <p:cNvPr id="13" name="TextBox 19">
              <a:extLst>
                <a:ext uri="{FF2B5EF4-FFF2-40B4-BE49-F238E27FC236}">
                  <a16:creationId xmlns:a16="http://schemas.microsoft.com/office/drawing/2014/main" id="{7C333A76-D4D3-4712-21CB-C557ADB22AA7}"/>
                </a:ext>
              </a:extLst>
            </p:cNvPr>
            <p:cNvSpPr txBox="1"/>
            <p:nvPr/>
          </p:nvSpPr>
          <p:spPr>
            <a:xfrm>
              <a:off x="373622" y="196239"/>
              <a:ext cx="6231751"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WEBSITE</a:t>
              </a:r>
            </a:p>
          </p:txBody>
        </p:sp>
        <p:sp>
          <p:nvSpPr>
            <p:cNvPr id="14" name="TextBox 20">
              <a:extLst>
                <a:ext uri="{FF2B5EF4-FFF2-40B4-BE49-F238E27FC236}">
                  <a16:creationId xmlns:a16="http://schemas.microsoft.com/office/drawing/2014/main" id="{D358551C-6959-2BE9-463B-F519FD68A60B}"/>
                </a:ext>
              </a:extLst>
            </p:cNvPr>
            <p:cNvSpPr txBox="1"/>
            <p:nvPr/>
          </p:nvSpPr>
          <p:spPr>
            <a:xfrm>
              <a:off x="320263" y="1745277"/>
              <a:ext cx="6231751" cy="832591"/>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966 503110519 (KSA)</a:t>
              </a:r>
            </a:p>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61 412738906 (Australia)</a:t>
              </a:r>
            </a:p>
          </p:txBody>
        </p:sp>
        <p:sp>
          <p:nvSpPr>
            <p:cNvPr id="23" name="TextBox 21">
              <a:extLst>
                <a:ext uri="{FF2B5EF4-FFF2-40B4-BE49-F238E27FC236}">
                  <a16:creationId xmlns:a16="http://schemas.microsoft.com/office/drawing/2014/main" id="{6DA9546D-8AA3-B99D-B4E4-120E0D976F2E}"/>
                </a:ext>
              </a:extLst>
            </p:cNvPr>
            <p:cNvSpPr txBox="1"/>
            <p:nvPr/>
          </p:nvSpPr>
          <p:spPr>
            <a:xfrm>
              <a:off x="396193" y="645932"/>
              <a:ext cx="6231751" cy="412519"/>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www.grc360.net</a:t>
              </a:r>
            </a:p>
          </p:txBody>
        </p:sp>
      </p:grpSp>
    </p:spTree>
    <p:extLst>
      <p:ext uri="{BB962C8B-B14F-4D97-AF65-F5344CB8AC3E}">
        <p14:creationId xmlns:p14="http://schemas.microsoft.com/office/powerpoint/2010/main" val="35224489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a:noFill/>
        </p:spPr>
        <p:txBody>
          <a:bodyPr>
            <a:normAutofit/>
          </a:bodyPr>
          <a:lstStyle/>
          <a:p>
            <a:r>
              <a:rPr lang="en-US" sz="3600"/>
              <a:t>OUR CORE VALUES </a:t>
            </a:r>
            <a:endParaRPr lang="en-GB" sz="3600"/>
          </a:p>
        </p:txBody>
      </p:sp>
      <p:sp>
        <p:nvSpPr>
          <p:cNvPr id="4" name="Text Placeholder 3">
            <a:extLst>
              <a:ext uri="{FF2B5EF4-FFF2-40B4-BE49-F238E27FC236}">
                <a16:creationId xmlns:a16="http://schemas.microsoft.com/office/drawing/2014/main" id="{E3F99712-EE19-B33E-000B-DFD32AEB2DC4}"/>
              </a:ext>
            </a:extLst>
          </p:cNvPr>
          <p:cNvSpPr>
            <a:spLocks noGrp="1"/>
          </p:cNvSpPr>
          <p:nvPr>
            <p:ph type="body" sz="quarter" idx="17"/>
          </p:nvPr>
        </p:nvSpPr>
        <p:spPr>
          <a:xfrm>
            <a:off x="7515404" y="2215896"/>
            <a:ext cx="3651357" cy="3375848"/>
          </a:xfrm>
        </p:spPr>
        <p:txBody>
          <a:bodyPr vert="horz" lIns="91440" tIns="45720" rIns="91440" bIns="45720" rtlCol="0" anchor="t">
            <a:normAutofit/>
          </a:bodyPr>
          <a:lstStyle/>
          <a:p>
            <a:pPr algn="ctr"/>
            <a:r>
              <a:rPr lang="en-US" sz="2000" b="1"/>
              <a:t>Our Mission</a:t>
            </a:r>
          </a:p>
          <a:p>
            <a:pPr algn="just"/>
            <a:r>
              <a:rPr lang="en-US"/>
              <a:t>We aim to achieve the highest quality in delivering our consultancy services to strengthen our clients’ governance, risk posture and information security resilience.</a:t>
            </a:r>
            <a:endParaRPr lang="en-US">
              <a:ea typeface="Calibri"/>
              <a:cs typeface="Calibri"/>
            </a:endParaRPr>
          </a:p>
          <a:p>
            <a:endParaRPr lang="en-GB"/>
          </a:p>
        </p:txBody>
      </p:sp>
      <p:sp>
        <p:nvSpPr>
          <p:cNvPr id="5" name="Text Placeholder 4">
            <a:extLst>
              <a:ext uri="{FF2B5EF4-FFF2-40B4-BE49-F238E27FC236}">
                <a16:creationId xmlns:a16="http://schemas.microsoft.com/office/drawing/2014/main" id="{7EE7EC5B-734F-2FA7-7E65-661A5DC30387}"/>
              </a:ext>
            </a:extLst>
          </p:cNvPr>
          <p:cNvSpPr>
            <a:spLocks noGrp="1"/>
          </p:cNvSpPr>
          <p:nvPr>
            <p:ph type="body" sz="quarter" idx="18"/>
          </p:nvPr>
        </p:nvSpPr>
        <p:spPr>
          <a:xfrm>
            <a:off x="724115" y="2125673"/>
            <a:ext cx="4346650" cy="3801394"/>
          </a:xfrm>
        </p:spPr>
        <p:txBody>
          <a:bodyPr>
            <a:normAutofit/>
          </a:bodyPr>
          <a:lstStyle/>
          <a:p>
            <a:pPr algn="ctr"/>
            <a:r>
              <a:rPr lang="en-US" sz="2200" b="1"/>
              <a:t>Our Vision</a:t>
            </a:r>
          </a:p>
          <a:p>
            <a:pPr marL="166688" indent="-166688" algn="just">
              <a:spcBef>
                <a:spcPts val="1800"/>
              </a:spcBef>
              <a:buFont typeface="Arial" panose="020B0604020202020204" pitchFamily="34" charset="0"/>
              <a:buChar char="•"/>
            </a:pPr>
            <a:r>
              <a:rPr lang="en-US"/>
              <a:t>Shaping the future of the information- and cyber-security ecosystem by countering challenges through innovation and experience. </a:t>
            </a:r>
          </a:p>
          <a:p>
            <a:pPr marL="166688" indent="-166688" algn="just">
              <a:buFont typeface="Arial" panose="020B0604020202020204" pitchFamily="34" charset="0"/>
              <a:buChar char="•"/>
            </a:pPr>
            <a:r>
              <a:rPr lang="en-US"/>
              <a:t>Assisting enterprises around the world by delivering outstanding quality services. </a:t>
            </a:r>
          </a:p>
          <a:p>
            <a:pPr marL="166688" indent="-166688" algn="just">
              <a:buFont typeface="Arial" panose="020B0604020202020204" pitchFamily="34" charset="0"/>
              <a:buChar char="•"/>
            </a:pPr>
            <a:r>
              <a:rPr lang="en-US"/>
              <a:t>Setting standards of excellence by instilling pride of ownership and commitment. </a:t>
            </a:r>
          </a:p>
          <a:p>
            <a:pPr marL="166688" indent="-166688" algn="just">
              <a:buFont typeface="Arial" panose="020B0604020202020204" pitchFamily="34" charset="0"/>
              <a:buChar char="•"/>
            </a:pPr>
            <a:r>
              <a:rPr lang="en-US"/>
              <a:t>Exceeding clients’ expectations through dedicated power of talented consultants.</a:t>
            </a: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8986772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E6E7E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tx1"/>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GLOBAL FOOTPRINT</a:t>
            </a:r>
            <a:endParaRPr lang="en-GB" sz="4000" b="1">
              <a:solidFill>
                <a:schemeClr val="bg1"/>
              </a:solidFill>
              <a:latin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188E666F-D499-70C2-CF70-DA33E1C27A22}"/>
              </a:ext>
            </a:extLst>
          </p:cNvPr>
          <p:cNvSpPr txBox="1"/>
          <p:nvPr/>
        </p:nvSpPr>
        <p:spPr>
          <a:xfrm>
            <a:off x="4504645" y="6256064"/>
            <a:ext cx="3857625" cy="352084"/>
          </a:xfrm>
          <a:prstGeom prst="rect">
            <a:avLst/>
          </a:prstGeom>
          <a:noFill/>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1" u="none" strike="noStrike" kern="1200" cap="none" spc="0" normalizeH="0" baseline="0" noProof="0">
                <a:ln>
                  <a:noFill/>
                </a:ln>
                <a:solidFill>
                  <a:srgbClr val="2D2D2D"/>
                </a:solidFill>
                <a:effectLst/>
                <a:uLnTx/>
                <a:uFillTx/>
                <a:latin typeface="Calibri"/>
                <a:ea typeface="+mn-ea"/>
                <a:cs typeface="+mn-cs"/>
              </a:rPr>
              <a:t>We have your back around 4 continents</a:t>
            </a:r>
          </a:p>
        </p:txBody>
      </p:sp>
      <p:sp>
        <p:nvSpPr>
          <p:cNvPr id="5" name="Freeform 12">
            <a:extLst>
              <a:ext uri="{FF2B5EF4-FFF2-40B4-BE49-F238E27FC236}">
                <a16:creationId xmlns:a16="http://schemas.microsoft.com/office/drawing/2014/main" id="{16BD572C-E8DE-7979-FA6A-B61D37E913B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13" name="Graphic 12" descr="Marker with solid fill">
            <a:extLst>
              <a:ext uri="{FF2B5EF4-FFF2-40B4-BE49-F238E27FC236}">
                <a16:creationId xmlns:a16="http://schemas.microsoft.com/office/drawing/2014/main" id="{8ACB298F-018B-9A4C-37F8-E90432D8D04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730343" y="5122625"/>
            <a:ext cx="598714" cy="598714"/>
          </a:xfrm>
          <a:prstGeom prst="rect">
            <a:avLst/>
          </a:prstGeom>
        </p:spPr>
      </p:pic>
      <p:grpSp>
        <p:nvGrpSpPr>
          <p:cNvPr id="17" name="Group 16">
            <a:extLst>
              <a:ext uri="{FF2B5EF4-FFF2-40B4-BE49-F238E27FC236}">
                <a16:creationId xmlns:a16="http://schemas.microsoft.com/office/drawing/2014/main" id="{B076778A-E831-EC7D-B7F5-CAAA4E1C6562}"/>
              </a:ext>
            </a:extLst>
          </p:cNvPr>
          <p:cNvGrpSpPr/>
          <p:nvPr/>
        </p:nvGrpSpPr>
        <p:grpSpPr>
          <a:xfrm>
            <a:off x="1843697" y="1727609"/>
            <a:ext cx="8221579" cy="4604657"/>
            <a:chOff x="2330689" y="1323716"/>
            <a:chExt cx="8221579" cy="4604657"/>
          </a:xfrm>
        </p:grpSpPr>
        <p:pic>
          <p:nvPicPr>
            <p:cNvPr id="11" name="Picture 10">
              <a:extLst>
                <a:ext uri="{FF2B5EF4-FFF2-40B4-BE49-F238E27FC236}">
                  <a16:creationId xmlns:a16="http://schemas.microsoft.com/office/drawing/2014/main" id="{DC474A17-6012-BC14-C7C6-463B7A9ED25F}"/>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330689" y="1323716"/>
              <a:ext cx="8221579" cy="4604657"/>
            </a:xfrm>
            <a:prstGeom prst="rect">
              <a:avLst/>
            </a:prstGeom>
          </p:spPr>
        </p:pic>
        <p:sp>
          <p:nvSpPr>
            <p:cNvPr id="15" name="Callout: Line with No Border 14">
              <a:extLst>
                <a:ext uri="{FF2B5EF4-FFF2-40B4-BE49-F238E27FC236}">
                  <a16:creationId xmlns:a16="http://schemas.microsoft.com/office/drawing/2014/main" id="{D9444864-1EB4-EEE9-E50A-660D50A5761D}"/>
                </a:ext>
              </a:extLst>
            </p:cNvPr>
            <p:cNvSpPr/>
            <p:nvPr/>
          </p:nvSpPr>
          <p:spPr>
            <a:xfrm>
              <a:off x="5683053" y="1611616"/>
              <a:ext cx="1050472" cy="293913"/>
            </a:xfrm>
            <a:prstGeom prst="callout1">
              <a:avLst>
                <a:gd name="adj1" fmla="val 103935"/>
                <a:gd name="adj2" fmla="val 49699"/>
                <a:gd name="adj3" fmla="val 760649"/>
                <a:gd name="adj4" fmla="val 12850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79339"/>
                  </a:solidFill>
                  <a:effectLst/>
                  <a:uLnTx/>
                  <a:uFillTx/>
                  <a:latin typeface="Calibri"/>
                  <a:ea typeface="+mn-ea"/>
                  <a:cs typeface="+mn-cs"/>
                </a:rPr>
                <a:t>Bahrain</a:t>
              </a:r>
              <a:endParaRPr kumimoji="0" lang="en-GB" sz="1400" b="1" i="0" u="none" strike="noStrike" kern="1200" cap="none" spc="0" normalizeH="0" baseline="0" noProof="0">
                <a:ln>
                  <a:noFill/>
                </a:ln>
                <a:solidFill>
                  <a:srgbClr val="F79339"/>
                </a:solidFill>
                <a:effectLst/>
                <a:uLnTx/>
                <a:uFillTx/>
                <a:latin typeface="Calibri"/>
                <a:ea typeface="+mn-ea"/>
                <a:cs typeface="+mn-cs"/>
              </a:endParaRPr>
            </a:p>
          </p:txBody>
        </p:sp>
        <p:pic>
          <p:nvPicPr>
            <p:cNvPr id="16" name="Picture 15">
              <a:extLst>
                <a:ext uri="{FF2B5EF4-FFF2-40B4-BE49-F238E27FC236}">
                  <a16:creationId xmlns:a16="http://schemas.microsoft.com/office/drawing/2014/main" id="{1DC72BE8-B328-7D1A-08C3-D79E091C2343}"/>
                </a:ext>
              </a:extLst>
            </p:cNvPr>
            <p:cNvPicPr>
              <a:picLocks noChangeAspect="1"/>
            </p:cNvPicPr>
            <p:nvPr/>
          </p:nvPicPr>
          <p:blipFill rotWithShape="1">
            <a:blip r:embed="rId5" cstate="print">
              <a:extLst>
                <a:ext uri="{BEBA8EAE-BF5A-486C-A8C5-ECC9F3942E4B}">
                  <a14:imgProps xmlns:a14="http://schemas.microsoft.com/office/drawing/2010/main">
                    <a14:imgLayer r:embed="rId6">
                      <a14:imgEffect>
                        <a14:backgroundRemoval t="10112" b="88764" l="9722" r="88889"/>
                      </a14:imgEffect>
                    </a14:imgLayer>
                  </a14:imgProps>
                </a:ext>
                <a:ext uri="{28A0092B-C50C-407E-A947-70E740481C1C}">
                  <a14:useLocalDpi xmlns:a14="http://schemas.microsoft.com/office/drawing/2010/main" val="0"/>
                </a:ext>
              </a:extLst>
            </a:blip>
            <a:srcRect/>
            <a:stretch/>
          </p:blipFill>
          <p:spPr>
            <a:xfrm>
              <a:off x="6782946" y="3553641"/>
              <a:ext cx="544286" cy="668581"/>
            </a:xfrm>
            <a:prstGeom prst="rect">
              <a:avLst/>
            </a:prstGeom>
          </p:spPr>
        </p:pic>
      </p:grpSp>
    </p:spTree>
    <p:extLst>
      <p:ext uri="{BB962C8B-B14F-4D97-AF65-F5344CB8AC3E}">
        <p14:creationId xmlns:p14="http://schemas.microsoft.com/office/powerpoint/2010/main" val="2275384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3" name="AutoShape 3"/>
          <p:cNvSpPr/>
          <p:nvPr/>
        </p:nvSpPr>
        <p:spPr>
          <a:xfrm>
            <a:off x="1098884" y="1065918"/>
            <a:ext cx="9994232" cy="5219400"/>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grpSp>
        <p:nvGrpSpPr>
          <p:cNvPr id="6" name="Group 6"/>
          <p:cNvGrpSpPr/>
          <p:nvPr/>
        </p:nvGrpSpPr>
        <p:grpSpPr>
          <a:xfrm>
            <a:off x="2129473" y="1207849"/>
            <a:ext cx="3852730" cy="933679"/>
            <a:chOff x="0" y="0"/>
            <a:chExt cx="3973973" cy="1054689"/>
          </a:xfrm>
        </p:grpSpPr>
        <p:sp>
          <p:nvSpPr>
            <p:cNvPr id="7" name="TextBox 7"/>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CI DSS COMPLIANCE</a:t>
              </a:r>
            </a:p>
          </p:txBody>
        </p:sp>
        <p:sp>
          <p:nvSpPr>
            <p:cNvPr id="8" name="TextBox 8"/>
            <p:cNvSpPr txBox="1"/>
            <p:nvPr/>
          </p:nvSpPr>
          <p:spPr>
            <a:xfrm>
              <a:off x="0" y="475246"/>
              <a:ext cx="3973973" cy="579443"/>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QSAs will ensure that your PCI compliance journey is easy and smooth.</a:t>
              </a:r>
            </a:p>
          </p:txBody>
        </p:sp>
      </p:grpSp>
      <p:grpSp>
        <p:nvGrpSpPr>
          <p:cNvPr id="12" name="Group 12"/>
          <p:cNvGrpSpPr/>
          <p:nvPr/>
        </p:nvGrpSpPr>
        <p:grpSpPr>
          <a:xfrm>
            <a:off x="7045005" y="3059790"/>
            <a:ext cx="3841344" cy="1169821"/>
            <a:chOff x="0" y="-22817"/>
            <a:chExt cx="4538642"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CURITY ASSESSMENTS</a:t>
              </a:r>
            </a:p>
          </p:txBody>
        </p:sp>
        <p:sp>
          <p:nvSpPr>
            <p:cNvPr id="14" name="TextBox 14"/>
            <p:cNvSpPr txBox="1"/>
            <p:nvPr/>
          </p:nvSpPr>
          <p:spPr>
            <a:xfrm>
              <a:off x="9643" y="546613"/>
              <a:ext cx="4528999"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consultants conduct database, network, infrastructure, and applications assessment.</a:t>
              </a:r>
            </a:p>
          </p:txBody>
        </p:sp>
      </p:grpSp>
      <p:grpSp>
        <p:nvGrpSpPr>
          <p:cNvPr id="24" name="Group 6"/>
          <p:cNvGrpSpPr/>
          <p:nvPr/>
        </p:nvGrpSpPr>
        <p:grpSpPr>
          <a:xfrm>
            <a:off x="7053167" y="1212701"/>
            <a:ext cx="3522893" cy="1557311"/>
            <a:chOff x="-22576" y="0"/>
            <a:chExt cx="4141956" cy="1762350"/>
          </a:xfrm>
        </p:grpSpPr>
        <p:sp>
          <p:nvSpPr>
            <p:cNvPr id="25" name="TextBox 7"/>
            <p:cNvSpPr txBox="1"/>
            <p:nvPr/>
          </p:nvSpPr>
          <p:spPr>
            <a:xfrm>
              <a:off x="0" y="0"/>
              <a:ext cx="3973973" cy="711546"/>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RSONAL DATA PRIVACY CONSULTANCY SERVICES</a:t>
              </a:r>
            </a:p>
          </p:txBody>
        </p:sp>
        <p:sp>
          <p:nvSpPr>
            <p:cNvPr id="26" name="TextBox 8"/>
            <p:cNvSpPr txBox="1"/>
            <p:nvPr/>
          </p:nvSpPr>
          <p:spPr>
            <a:xfrm>
              <a:off x="-22576" y="891603"/>
              <a:ext cx="4141956" cy="870747"/>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360 provides Data Privacy services according to regional regulations such as PDLP, NDMO etc.</a:t>
              </a:r>
            </a:p>
          </p:txBody>
        </p:sp>
      </p:grpSp>
      <p:grpSp>
        <p:nvGrpSpPr>
          <p:cNvPr id="30" name="Group 6"/>
          <p:cNvGrpSpPr/>
          <p:nvPr/>
        </p:nvGrpSpPr>
        <p:grpSpPr>
          <a:xfrm>
            <a:off x="2129473" y="5193452"/>
            <a:ext cx="4283591" cy="893674"/>
            <a:chOff x="0" y="372132"/>
            <a:chExt cx="3973973" cy="1089400"/>
          </a:xfrm>
        </p:grpSpPr>
        <p:sp>
          <p:nvSpPr>
            <p:cNvPr id="31" name="TextBox 7"/>
            <p:cNvSpPr txBox="1"/>
            <p:nvPr/>
          </p:nvSpPr>
          <p:spPr>
            <a:xfrm>
              <a:off x="0" y="372132"/>
              <a:ext cx="3973973" cy="375652"/>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SO 27001 CONSULTANCY SERVICES</a:t>
              </a:r>
            </a:p>
          </p:txBody>
        </p:sp>
        <p:sp>
          <p:nvSpPr>
            <p:cNvPr id="32" name="TextBox 8"/>
            <p:cNvSpPr txBox="1"/>
            <p:nvPr/>
          </p:nvSpPr>
          <p:spPr>
            <a:xfrm>
              <a:off x="0" y="836226"/>
              <a:ext cx="3973973" cy="625306"/>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ssist and expedite on the complex journey of ISO 27001 complianc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 name="Group 6">
            <a:extLst>
              <a:ext uri="{FF2B5EF4-FFF2-40B4-BE49-F238E27FC236}">
                <a16:creationId xmlns:a16="http://schemas.microsoft.com/office/drawing/2014/main" id="{88B8A8DA-9088-0152-8A2F-D2BDEB9F8EA5}"/>
              </a:ext>
            </a:extLst>
          </p:cNvPr>
          <p:cNvGrpSpPr/>
          <p:nvPr/>
        </p:nvGrpSpPr>
        <p:grpSpPr>
          <a:xfrm>
            <a:off x="2129473" y="2415533"/>
            <a:ext cx="3966527" cy="933681"/>
            <a:chOff x="0" y="0"/>
            <a:chExt cx="3973973" cy="1054691"/>
          </a:xfrm>
        </p:grpSpPr>
        <p:sp>
          <p:nvSpPr>
            <p:cNvPr id="18" name="TextBox 7">
              <a:extLst>
                <a:ext uri="{FF2B5EF4-FFF2-40B4-BE49-F238E27FC236}">
                  <a16:creationId xmlns:a16="http://schemas.microsoft.com/office/drawing/2014/main" id="{41798EA6-3A0E-BCF4-2B15-2DA3BBDF0FA2}"/>
                </a:ext>
              </a:extLst>
            </p:cNvPr>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RED TEAMING</a:t>
              </a:r>
            </a:p>
          </p:txBody>
        </p:sp>
        <p:sp>
          <p:nvSpPr>
            <p:cNvPr id="19" name="TextBox 8">
              <a:extLst>
                <a:ext uri="{FF2B5EF4-FFF2-40B4-BE49-F238E27FC236}">
                  <a16:creationId xmlns:a16="http://schemas.microsoft.com/office/drawing/2014/main" id="{39FC20F1-57D9-6698-A40A-4E13C7C3B8BA}"/>
                </a:ext>
              </a:extLst>
            </p:cNvPr>
            <p:cNvSpPr txBox="1"/>
            <p:nvPr/>
          </p:nvSpPr>
          <p:spPr>
            <a:xfrm>
              <a:off x="0" y="475247"/>
              <a:ext cx="3973973" cy="579444"/>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test your security implementations and SOC with realistic attack simulation.</a:t>
              </a:r>
            </a:p>
          </p:txBody>
        </p:sp>
      </p:grpSp>
      <p:grpSp>
        <p:nvGrpSpPr>
          <p:cNvPr id="27" name="Group 6">
            <a:extLst>
              <a:ext uri="{FF2B5EF4-FFF2-40B4-BE49-F238E27FC236}">
                <a16:creationId xmlns:a16="http://schemas.microsoft.com/office/drawing/2014/main" id="{5A047BCB-A0DD-8F41-A119-AA370B483F2D}"/>
              </a:ext>
            </a:extLst>
          </p:cNvPr>
          <p:cNvGrpSpPr/>
          <p:nvPr/>
        </p:nvGrpSpPr>
        <p:grpSpPr>
          <a:xfrm>
            <a:off x="2129473" y="3675618"/>
            <a:ext cx="4158106" cy="1188465"/>
            <a:chOff x="0" y="372132"/>
            <a:chExt cx="3991762" cy="1690264"/>
          </a:xfrm>
        </p:grpSpPr>
        <p:sp>
          <p:nvSpPr>
            <p:cNvPr id="28" name="TextBox 7">
              <a:extLst>
                <a:ext uri="{FF2B5EF4-FFF2-40B4-BE49-F238E27FC236}">
                  <a16:creationId xmlns:a16="http://schemas.microsoft.com/office/drawing/2014/main" id="{37E3D626-C55B-EA30-9B5D-5A4888BB0D37}"/>
                </a:ext>
              </a:extLst>
            </p:cNvPr>
            <p:cNvSpPr txBox="1"/>
            <p:nvPr/>
          </p:nvSpPr>
          <p:spPr>
            <a:xfrm>
              <a:off x="0" y="372132"/>
              <a:ext cx="3973973"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NSITIVE DATA DISCOVERY</a:t>
              </a:r>
            </a:p>
          </p:txBody>
        </p:sp>
        <p:sp>
          <p:nvSpPr>
            <p:cNvPr id="29" name="TextBox 8">
              <a:extLst>
                <a:ext uri="{FF2B5EF4-FFF2-40B4-BE49-F238E27FC236}">
                  <a16:creationId xmlns:a16="http://schemas.microsoft.com/office/drawing/2014/main" id="{5C923374-38CB-C430-EC53-C8BFD5E050EC}"/>
                </a:ext>
              </a:extLst>
            </p:cNvPr>
            <p:cNvSpPr txBox="1"/>
            <p:nvPr/>
          </p:nvSpPr>
          <p:spPr>
            <a:xfrm>
              <a:off x="17789" y="968078"/>
              <a:ext cx="3973973"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official partner of Ground Labs, purpose-designed sensitive data discovery solution for any data security initiativ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grpSp>
        <p:nvGrpSpPr>
          <p:cNvPr id="33" name="Group 12">
            <a:extLst>
              <a:ext uri="{FF2B5EF4-FFF2-40B4-BE49-F238E27FC236}">
                <a16:creationId xmlns:a16="http://schemas.microsoft.com/office/drawing/2014/main" id="{11D550A5-C8F9-76FA-B23B-59407D9C5D29}"/>
              </a:ext>
            </a:extLst>
          </p:cNvPr>
          <p:cNvGrpSpPr/>
          <p:nvPr/>
        </p:nvGrpSpPr>
        <p:grpSpPr>
          <a:xfrm>
            <a:off x="7053166" y="4520432"/>
            <a:ext cx="3852730" cy="1682782"/>
            <a:chOff x="-23097" y="-22817"/>
            <a:chExt cx="4552095" cy="2393292"/>
          </a:xfrm>
        </p:grpSpPr>
        <p:sp>
          <p:nvSpPr>
            <p:cNvPr id="34" name="TextBox 13">
              <a:extLst>
                <a:ext uri="{FF2B5EF4-FFF2-40B4-BE49-F238E27FC236}">
                  <a16:creationId xmlns:a16="http://schemas.microsoft.com/office/drawing/2014/main" id="{E55531E7-1301-1DE1-9216-B291B1D1EC62}"/>
                </a:ext>
              </a:extLst>
            </p:cNvPr>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RAP ASSESSMENTS</a:t>
              </a:r>
            </a:p>
          </p:txBody>
        </p:sp>
        <p:sp>
          <p:nvSpPr>
            <p:cNvPr id="35" name="TextBox 14">
              <a:extLst>
                <a:ext uri="{FF2B5EF4-FFF2-40B4-BE49-F238E27FC236}">
                  <a16:creationId xmlns:a16="http://schemas.microsoft.com/office/drawing/2014/main" id="{445FCC2F-9DE4-C843-50FF-26E4C188EC6E}"/>
                </a:ext>
              </a:extLst>
            </p:cNvPr>
            <p:cNvSpPr txBox="1"/>
            <p:nvPr/>
          </p:nvSpPr>
          <p:spPr>
            <a:xfrm>
              <a:off x="-23097" y="546613"/>
              <a:ext cx="4528999" cy="1823862"/>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certified under ACSC’s Infosec Registered Assessors Program (IRAP) for conducting security assessments and validating the effectiveness of security controls. </a:t>
              </a:r>
              <a:endParaRPr kumimoji="0" lang="en-GB" sz="1800" b="1" i="0" u="none" strike="noStrike" kern="1200" cap="none" spc="0" normalizeH="0" baseline="0" noProof="0">
                <a:ln>
                  <a:noFill/>
                </a:ln>
                <a:solidFill>
                  <a:srgbClr val="FFFFFF"/>
                </a:solidFill>
                <a:effectLst/>
                <a:uLnTx/>
                <a:uFillTx/>
                <a:latin typeface="mreavesxl"/>
                <a:ea typeface="+mn-ea"/>
                <a:cs typeface="+mn-cs"/>
              </a:endParaRPr>
            </a:p>
          </p:txBody>
        </p:sp>
      </p:grpSp>
    </p:spTree>
    <p:extLst>
      <p:ext uri="{BB962C8B-B14F-4D97-AF65-F5344CB8AC3E}">
        <p14:creationId xmlns:p14="http://schemas.microsoft.com/office/powerpoint/2010/main" val="31454691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sp>
        <p:nvSpPr>
          <p:cNvPr id="3" name="AutoShape 3"/>
          <p:cNvSpPr/>
          <p:nvPr/>
        </p:nvSpPr>
        <p:spPr>
          <a:xfrm>
            <a:off x="1098884" y="1155597"/>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7072176" y="1455529"/>
            <a:ext cx="3852730" cy="1188465"/>
            <a:chOff x="0" y="-24650"/>
            <a:chExt cx="4511355" cy="1690264"/>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HREAT HUNTING</a:t>
              </a:r>
            </a:p>
          </p:txBody>
        </p:sp>
        <p:sp>
          <p:nvSpPr>
            <p:cNvPr id="11" name="TextBox 11"/>
            <p:cNvSpPr txBox="1"/>
            <p:nvPr/>
          </p:nvSpPr>
          <p:spPr>
            <a:xfrm>
              <a:off x="0" y="571296"/>
              <a:ext cx="4511355"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experts will look for adversaries present in your IT infrastructure.</a:t>
              </a:r>
            </a:p>
          </p:txBody>
        </p:sp>
      </p:grpSp>
      <p:grpSp>
        <p:nvGrpSpPr>
          <p:cNvPr id="12" name="Group 12"/>
          <p:cNvGrpSpPr/>
          <p:nvPr/>
        </p:nvGrpSpPr>
        <p:grpSpPr>
          <a:xfrm>
            <a:off x="2145939" y="4829762"/>
            <a:ext cx="3934237" cy="1169821"/>
            <a:chOff x="0" y="-22817"/>
            <a:chExt cx="4554015"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RASTRUCTURE SERVICES</a:t>
              </a:r>
            </a:p>
          </p:txBody>
        </p:sp>
        <p:sp>
          <p:nvSpPr>
            <p:cNvPr id="14" name="TextBox 14"/>
            <p:cNvSpPr txBox="1"/>
            <p:nvPr/>
          </p:nvSpPr>
          <p:spPr>
            <a:xfrm>
              <a:off x="25017" y="546613"/>
              <a:ext cx="4528998"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services to implement and configure WAF, FIM, IDS, IPS, Firewalls, and DLPs in your infrastructure.</a:t>
              </a:r>
            </a:p>
          </p:txBody>
        </p:sp>
      </p:grpSp>
      <p:grpSp>
        <p:nvGrpSpPr>
          <p:cNvPr id="15" name="Group 15"/>
          <p:cNvGrpSpPr/>
          <p:nvPr/>
        </p:nvGrpSpPr>
        <p:grpSpPr>
          <a:xfrm>
            <a:off x="2163874" y="2896530"/>
            <a:ext cx="3852730" cy="1687904"/>
            <a:chOff x="0" y="0"/>
            <a:chExt cx="4821004" cy="2400578"/>
          </a:xfrm>
        </p:grpSpPr>
        <p:sp>
          <p:nvSpPr>
            <p:cNvPr id="16" name="TextBox 16"/>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DEVOPS</a:t>
              </a:r>
            </a:p>
          </p:txBody>
        </p:sp>
        <p:sp>
          <p:nvSpPr>
            <p:cNvPr id="17" name="TextBox 17"/>
            <p:cNvSpPr txBox="1"/>
            <p:nvPr/>
          </p:nvSpPr>
          <p:spPr>
            <a:xfrm>
              <a:off x="0" y="576715"/>
              <a:ext cx="4821004" cy="1823863"/>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DevOps team manages the relationship between operations and development to ensure that everything runs smoothly throughout the entire lifecycle of your application</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163422" y="1451584"/>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NETRATION TESTING</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24x7 VAPT Platform for continual VAPT services along with expert traditional VAPT services.</a:t>
              </a: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7072176" y="2856286"/>
            <a:ext cx="3852730" cy="1431424"/>
            <a:chOff x="0" y="0"/>
            <a:chExt cx="4821004" cy="2035806"/>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RC360</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576715"/>
              <a:ext cx="4821004" cy="1459091"/>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gap assessments and compliance assistance for  international standards and frameworks like SAMA CSF, NCA ECC etc.</a:t>
              </a:r>
            </a:p>
          </p:txBody>
        </p:sp>
      </p:grpSp>
      <p:grpSp>
        <p:nvGrpSpPr>
          <p:cNvPr id="33" name="Group 6">
            <a:extLst>
              <a:ext uri="{FF2B5EF4-FFF2-40B4-BE49-F238E27FC236}">
                <a16:creationId xmlns:a16="http://schemas.microsoft.com/office/drawing/2014/main" id="{F95331F9-5256-C8C3-7E56-18467D4821E0}"/>
              </a:ext>
            </a:extLst>
          </p:cNvPr>
          <p:cNvGrpSpPr/>
          <p:nvPr/>
        </p:nvGrpSpPr>
        <p:grpSpPr>
          <a:xfrm>
            <a:off x="7072176" y="4829762"/>
            <a:ext cx="3522893" cy="1188465"/>
            <a:chOff x="0" y="0"/>
            <a:chExt cx="4141956" cy="1690264"/>
          </a:xfrm>
        </p:grpSpPr>
        <p:sp>
          <p:nvSpPr>
            <p:cNvPr id="34" name="TextBox 7">
              <a:extLst>
                <a:ext uri="{FF2B5EF4-FFF2-40B4-BE49-F238E27FC236}">
                  <a16:creationId xmlns:a16="http://schemas.microsoft.com/office/drawing/2014/main" id="{F9C7CFA1-3A44-FCA0-69E5-FB16171DD26F}"/>
                </a:ext>
              </a:extLst>
            </p:cNvPr>
            <p:cNvSpPr txBox="1"/>
            <p:nvPr/>
          </p:nvSpPr>
          <p:spPr>
            <a:xfrm>
              <a:off x="0" y="0"/>
              <a:ext cx="3973973"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YBERSECURITY TRAINING</a:t>
              </a:r>
            </a:p>
          </p:txBody>
        </p:sp>
        <p:sp>
          <p:nvSpPr>
            <p:cNvPr id="35" name="TextBox 8">
              <a:extLst>
                <a:ext uri="{FF2B5EF4-FFF2-40B4-BE49-F238E27FC236}">
                  <a16:creationId xmlns:a16="http://schemas.microsoft.com/office/drawing/2014/main" id="{47B2066E-F4CE-B5F9-7A78-EA9796136BAC}"/>
                </a:ext>
              </a:extLst>
            </p:cNvPr>
            <p:cNvSpPr txBox="1"/>
            <p:nvPr/>
          </p:nvSpPr>
          <p:spPr>
            <a:xfrm>
              <a:off x="0" y="595946"/>
              <a:ext cx="4141956"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yber security awareness and technical training for your professionals.</a:t>
              </a:r>
            </a:p>
          </p:txBody>
        </p:sp>
      </p:grpSp>
    </p:spTree>
    <p:extLst>
      <p:ext uri="{BB962C8B-B14F-4D97-AF65-F5344CB8AC3E}">
        <p14:creationId xmlns:p14="http://schemas.microsoft.com/office/powerpoint/2010/main" val="35921183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5" y="540598"/>
            <a:ext cx="8418557" cy="472052"/>
          </a:xfrm>
          <a:prstGeom prst="rect">
            <a:avLst/>
          </a:prstGeom>
        </p:spPr>
        <p:txBody>
          <a:bodyPr wrap="square"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REGIONAL SERVICES (SAUDI ARABIA)</a:t>
            </a: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6996042" y="1616440"/>
            <a:ext cx="3852730" cy="1444946"/>
            <a:chOff x="0" y="-24650"/>
            <a:chExt cx="4511355" cy="2055037"/>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NCA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1" name="TextBox 11"/>
            <p:cNvSpPr txBox="1"/>
            <p:nvPr/>
          </p:nvSpPr>
          <p:spPr>
            <a:xfrm>
              <a:off x="0" y="571296"/>
              <a:ext cx="4511355" cy="1459091"/>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implementation guideline and can make you ready for ECC/CCC Assessment and Compliance.</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087288" y="1612495"/>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SAMA CONSULTANCY</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We assist and expedite on the complex journey of SAMA compliance (MVC, CRFR, </a:t>
              </a:r>
              <a:r>
                <a:rPr lang="en-US" spc="13">
                  <a:solidFill>
                    <a:srgbClr val="EDE6E2"/>
                  </a:solidFill>
                  <a:latin typeface="Calibri"/>
                  <a:cs typeface="Calibri"/>
                </a:rPr>
                <a:t>CSF</a:t>
              </a:r>
              <a:r>
                <a:rPr kumimoji="0" lang="en-US" sz="1800" b="0" i="0" u="none" strike="noStrike" kern="1200" cap="none" spc="13" normalizeH="0" baseline="0" noProof="0">
                  <a:ln>
                    <a:noFill/>
                  </a:ln>
                  <a:solidFill>
                    <a:srgbClr val="EDE6E2"/>
                  </a:solidFill>
                  <a:effectLst/>
                  <a:uLnTx/>
                  <a:uFillTx/>
                  <a:latin typeface="Calibri"/>
                  <a:ea typeface="+mn-ea"/>
                  <a:cs typeface="Calibri"/>
                </a:rPr>
                <a:t>).</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2047616" y="3302395"/>
            <a:ext cx="3852730" cy="1204207"/>
            <a:chOff x="0" y="0"/>
            <a:chExt cx="4821004" cy="1712651"/>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MA CONSULTANCY</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618334"/>
              <a:ext cx="4821004" cy="1094317"/>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Guidelines for Capital Market Institutions.</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7" name="Group 15">
            <a:extLst>
              <a:ext uri="{FF2B5EF4-FFF2-40B4-BE49-F238E27FC236}">
                <a16:creationId xmlns:a16="http://schemas.microsoft.com/office/drawing/2014/main" id="{F92A0EF8-2AFD-AC68-968B-ED4313BD92D8}"/>
              </a:ext>
            </a:extLst>
          </p:cNvPr>
          <p:cNvGrpSpPr/>
          <p:nvPr/>
        </p:nvGrpSpPr>
        <p:grpSpPr>
          <a:xfrm>
            <a:off x="6996042" y="3302395"/>
            <a:ext cx="4216809" cy="1236499"/>
            <a:chOff x="0" y="0"/>
            <a:chExt cx="5276584" cy="1758579"/>
          </a:xfrm>
        </p:grpSpPr>
        <p:sp>
          <p:nvSpPr>
            <p:cNvPr id="8" name="TextBox 16">
              <a:extLst>
                <a:ext uri="{FF2B5EF4-FFF2-40B4-BE49-F238E27FC236}">
                  <a16:creationId xmlns:a16="http://schemas.microsoft.com/office/drawing/2014/main" id="{E97FFCD4-7911-0607-6CF4-93F9F1330B0F}"/>
                </a:ext>
              </a:extLst>
            </p:cNvPr>
            <p:cNvSpPr txBox="1"/>
            <p:nvPr/>
          </p:nvSpPr>
          <p:spPr>
            <a:xfrm>
              <a:off x="0" y="0"/>
              <a:ext cx="5276584"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DATA PRIVACY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2" name="TextBox 17">
              <a:extLst>
                <a:ext uri="{FF2B5EF4-FFF2-40B4-BE49-F238E27FC236}">
                  <a16:creationId xmlns:a16="http://schemas.microsoft.com/office/drawing/2014/main" id="{560CCC2C-1096-48A7-A64C-8EF530A245B5}"/>
                </a:ext>
              </a:extLst>
            </p:cNvPr>
            <p:cNvSpPr txBox="1"/>
            <p:nvPr/>
          </p:nvSpPr>
          <p:spPr>
            <a:xfrm>
              <a:off x="0" y="576715"/>
              <a:ext cx="5165325" cy="1181864"/>
            </a:xfrm>
            <a:prstGeom prst="rect">
              <a:avLst/>
            </a:prstGeom>
          </p:spPr>
          <p:txBody>
            <a:bodyPr wrap="square" lIns="0" tIns="0" rIns="0" bIns="0" rtlCol="0" anchor="t">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provides Data Privacy services according to regional regulations i.e., PDPL, NDMO</a:t>
              </a:r>
              <a:r>
                <a:rPr kumimoji="0" lang="en-US" sz="1600" b="0" i="0" u="none" strike="noStrike" kern="1200" cap="none" spc="13" normalizeH="0" baseline="0" noProof="0">
                  <a:ln>
                    <a:noFill/>
                  </a:ln>
                  <a:solidFill>
                    <a:srgbClr val="EDE6E2"/>
                  </a:solidFill>
                  <a:effectLst/>
                  <a:uLnTx/>
                  <a:uFillTx/>
                  <a:latin typeface="Calibri"/>
                  <a:ea typeface="+mn-ea"/>
                  <a:cs typeface="Calibri"/>
                </a:rPr>
                <a:t>. </a:t>
              </a: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4" name="Group 15">
            <a:extLst>
              <a:ext uri="{FF2B5EF4-FFF2-40B4-BE49-F238E27FC236}">
                <a16:creationId xmlns:a16="http://schemas.microsoft.com/office/drawing/2014/main" id="{8209A756-F439-224B-BB10-BF0DBB851D4C}"/>
              </a:ext>
            </a:extLst>
          </p:cNvPr>
          <p:cNvGrpSpPr/>
          <p:nvPr/>
        </p:nvGrpSpPr>
        <p:grpSpPr>
          <a:xfrm>
            <a:off x="2047616" y="4865030"/>
            <a:ext cx="9076322" cy="947727"/>
            <a:chOff x="0" y="0"/>
            <a:chExt cx="6491379" cy="1347879"/>
          </a:xfrm>
        </p:grpSpPr>
        <p:sp>
          <p:nvSpPr>
            <p:cNvPr id="6" name="TextBox 16">
              <a:extLst>
                <a:ext uri="{FF2B5EF4-FFF2-40B4-BE49-F238E27FC236}">
                  <a16:creationId xmlns:a16="http://schemas.microsoft.com/office/drawing/2014/main" id="{0812E8A6-F6F7-02AD-1289-51E86A4D7E1D}"/>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ITC (CRF) CONSULTANCY</a:t>
              </a:r>
            </a:p>
          </p:txBody>
        </p:sp>
        <p:sp>
          <p:nvSpPr>
            <p:cNvPr id="13" name="TextBox 17">
              <a:extLst>
                <a:ext uri="{FF2B5EF4-FFF2-40B4-BE49-F238E27FC236}">
                  <a16:creationId xmlns:a16="http://schemas.microsoft.com/office/drawing/2014/main" id="{83FA4977-226C-F8DC-314D-42DAB5466BFF}"/>
                </a:ext>
              </a:extLst>
            </p:cNvPr>
            <p:cNvSpPr txBox="1"/>
            <p:nvPr/>
          </p:nvSpPr>
          <p:spPr>
            <a:xfrm>
              <a:off x="0" y="618334"/>
              <a:ext cx="6491379" cy="729545"/>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Regulatory Framework (CRF) by CITC (Communications and Information Technology Commission).</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spTree>
    <p:extLst>
      <p:ext uri="{BB962C8B-B14F-4D97-AF65-F5344CB8AC3E}">
        <p14:creationId xmlns:p14="http://schemas.microsoft.com/office/powerpoint/2010/main" val="3831033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savings*money*spending*cash*bill*billing*expense*transaction"/>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money*bank note*cash*currency*dollar*saving*payment*bills*"/>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heme/theme1.xml><?xml version="1.0" encoding="utf-8"?>
<a:theme xmlns:a="http://schemas.openxmlformats.org/drawingml/2006/main" name="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ppt/theme/themeOverride2.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2C5CBC49640BC94B92E947587B7DD879" ma:contentTypeVersion="8" ma:contentTypeDescription="Create a new document." ma:contentTypeScope="" ma:versionID="7a97839a2e98a64a09aefcfcf4927542">
  <xsd:schema xmlns:xsd="http://www.w3.org/2001/XMLSchema" xmlns:xs="http://www.w3.org/2001/XMLSchema" xmlns:p="http://schemas.microsoft.com/office/2006/metadata/properties" xmlns:ns2="83228a46-e567-4a08-9d57-ffbc699c984e" targetNamespace="http://schemas.microsoft.com/office/2006/metadata/properties" ma:root="true" ma:fieldsID="fa0ec9eb379c37a5baeeed2dc6c23169" ns2:_="">
    <xsd:import namespace="83228a46-e567-4a08-9d57-ffbc699c984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228a46-e567-4a08-9d57-ffbc699c984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995C9689-970A-4C06-94B4-74BEBF5FC64B}">
  <ds:schemaRefs>
    <ds:schemaRef ds:uri="http://schemas.microsoft.com/sharepoint/v3/contenttype/forms"/>
  </ds:schemaRefs>
</ds:datastoreItem>
</file>

<file path=customXml/itemProps2.xml><?xml version="1.0" encoding="utf-8"?>
<ds:datastoreItem xmlns:ds="http://schemas.openxmlformats.org/officeDocument/2006/customXml" ds:itemID="{EAEF478B-999E-43B0-912A-C58AE02C0EC1}">
  <ds:schemaRefs>
    <ds:schemaRef ds:uri="83228a46-e567-4a08-9d57-ffbc699c984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47828A69-6D5E-4252-A7C4-1BB9F3532B5E}">
  <ds:schemaRefs>
    <ds:schemaRef ds:uri="83228a46-e567-4a08-9d57-ffbc699c984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35</TotalTime>
  <Words>2635</Words>
  <Application>Microsoft Office PowerPoint</Application>
  <PresentationFormat>Widescreen</PresentationFormat>
  <Paragraphs>432</Paragraphs>
  <Slides>44</Slides>
  <Notes>15</Notes>
  <HiddenSlides>0</HiddenSlides>
  <MMClips>0</MMClips>
  <ScaleCrop>false</ScaleCrop>
  <HeadingPairs>
    <vt:vector size="6" baseType="variant">
      <vt:variant>
        <vt:lpstr>Fonts Used</vt:lpstr>
      </vt:variant>
      <vt:variant>
        <vt:i4>5</vt:i4>
      </vt:variant>
      <vt:variant>
        <vt:lpstr>Theme</vt:lpstr>
      </vt:variant>
      <vt:variant>
        <vt:i4>3</vt:i4>
      </vt:variant>
      <vt:variant>
        <vt:lpstr>Slide Titles</vt:lpstr>
      </vt:variant>
      <vt:variant>
        <vt:i4>44</vt:i4>
      </vt:variant>
    </vt:vector>
  </HeadingPairs>
  <TitlesOfParts>
    <vt:vector size="52" baseType="lpstr">
      <vt:lpstr>Arial</vt:lpstr>
      <vt:lpstr>Calibri</vt:lpstr>
      <vt:lpstr>mreavesxl</vt:lpstr>
      <vt:lpstr>Open Sans</vt:lpstr>
      <vt:lpstr>Times</vt:lpstr>
      <vt:lpstr>Office Theme</vt:lpstr>
      <vt:lpstr>2_Office Theme</vt:lpstr>
      <vt:lpstr>1_Office Theme</vt:lpstr>
      <vt:lpstr>PowerPoint Presentation</vt:lpstr>
      <vt:lpstr>TABLE OF CONTENTS</vt:lpstr>
      <vt:lpstr>PowerPoint Presentation</vt:lpstr>
      <vt:lpstr>PowerPoint Presentation</vt:lpstr>
      <vt:lpstr>PowerPoint Presentation</vt:lpstr>
      <vt:lpstr>GLOBAL FOOTPRI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UR COMPETITIVE ADVANT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dia Ijaz</dc:creator>
  <cp:lastModifiedBy>Abdul Rafay</cp:lastModifiedBy>
  <cp:revision>25</cp:revision>
  <dcterms:created xsi:type="dcterms:W3CDTF">2022-09-12T10:39:45Z</dcterms:created>
  <dcterms:modified xsi:type="dcterms:W3CDTF">2025-02-16T11:51: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C5CBC49640BC94B92E947587B7DD879</vt:lpwstr>
  </property>
</Properties>
</file>